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notesMasterIdLst>
    <p:notesMasterId r:id="rId22"/>
  </p:notesMasterIdLst>
  <p:handoutMasterIdLst>
    <p:handoutMasterId r:id="rId23"/>
  </p:handoutMasterIdLst>
  <p:sldIdLst>
    <p:sldId id="2803" r:id="rId2"/>
    <p:sldId id="2826" r:id="rId3"/>
    <p:sldId id="2827" r:id="rId4"/>
    <p:sldId id="2759" r:id="rId5"/>
    <p:sldId id="2818" r:id="rId6"/>
    <p:sldId id="2809" r:id="rId7"/>
    <p:sldId id="2814" r:id="rId8"/>
    <p:sldId id="2824" r:id="rId9"/>
    <p:sldId id="2845" r:id="rId10"/>
    <p:sldId id="2846" r:id="rId11"/>
    <p:sldId id="2847" r:id="rId12"/>
    <p:sldId id="275" r:id="rId13"/>
    <p:sldId id="2848" r:id="rId14"/>
    <p:sldId id="2842" r:id="rId15"/>
    <p:sldId id="2841" r:id="rId16"/>
    <p:sldId id="2786" r:id="rId17"/>
    <p:sldId id="2730" r:id="rId18"/>
    <p:sldId id="2813" r:id="rId19"/>
    <p:sldId id="2843" r:id="rId20"/>
    <p:sldId id="2825" r:id="rId21"/>
  </p:sldIdLst>
  <p:sldSz cx="12192000" cy="6858000"/>
  <p:notesSz cx="6858000" cy="9144000"/>
  <p:custDataLst>
    <p:tags r:id="rId24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  <p15:guide id="4" orient="horz" pos="19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143"/>
    <a:srgbClr val="F2F3F7"/>
    <a:srgbClr val="FFC04F"/>
    <a:srgbClr val="FFFCF7"/>
    <a:srgbClr val="000000"/>
    <a:srgbClr val="F07D35"/>
    <a:srgbClr val="FFDC9B"/>
    <a:srgbClr val="FFFFFF"/>
    <a:srgbClr val="332F43"/>
    <a:srgbClr val="6D1F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llanmörkt format 2 - Dekorfär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561" autoAdjust="0"/>
    <p:restoredTop sz="94660"/>
  </p:normalViewPr>
  <p:slideViewPr>
    <p:cSldViewPr snapToGrid="0" showGuides="1">
      <p:cViewPr varScale="1">
        <p:scale>
          <a:sx n="127" d="100"/>
          <a:sy n="127" d="100"/>
        </p:scale>
        <p:origin x="920" y="192"/>
      </p:cViewPr>
      <p:guideLst>
        <p:guide pos="3840"/>
        <p:guide orient="horz" pos="2160"/>
        <p:guide orient="horz" pos="1911"/>
      </p:guideLst>
    </p:cSldViewPr>
  </p:slideViewPr>
  <p:outlineViewPr>
    <p:cViewPr>
      <p:scale>
        <a:sx n="33" d="100"/>
        <a:sy n="33" d="100"/>
      </p:scale>
      <p:origin x="0" y="-66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9" d="100"/>
          <a:sy n="79" d="100"/>
        </p:scale>
        <p:origin x="394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65FFBF3E-5B19-0624-9E89-41C9D89EF2F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9EBA4E15-1CD3-E94B-E860-EC6CEF1F0CB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F19CB9-877E-4502-9D93-B6C24D43E890}" type="datetimeFigureOut">
              <a:rPr lang="sv-SE" smtClean="0"/>
              <a:t>2025-09-29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B58400F0-F9C1-295E-878C-5CB58D538DE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C4FA3DC1-C112-F2B9-6C93-04384E2CDD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C7534E-3178-4EF6-9532-423A0B00E5B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173632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9059D5-0403-3141-9F8E-0445DBF6B4E1}" type="datetimeFigureOut">
              <a:rPr lang="sv-SE" smtClean="0"/>
              <a:t>2025-09-29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14E5B2-511F-D64A-A25D-30CA16842C4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05455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E8EACC-E5C9-4B4E-8503-D9F0887255D3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79865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emsec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>
            <a:extLst>
              <a:ext uri="{FF2B5EF4-FFF2-40B4-BE49-F238E27FC236}">
                <a16:creationId xmlns:a16="http://schemas.microsoft.com/office/drawing/2014/main" id="{16E7D3F7-1B1D-39BA-C4C5-C45F222E11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9929" y="2573867"/>
            <a:ext cx="7233075" cy="1718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7920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headlin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0F98764-CE83-C7A4-80DF-609183ECEB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467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F98764-CE83-C7A4-80DF-609183ECEB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88D3EB1-3096-231A-55E4-A3604EDC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C3FD7F7-0659-3DE1-3172-F39434A08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3691" y="6356350"/>
            <a:ext cx="3046086" cy="365125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6ED26201-7848-6EDF-F3C3-9CC2F91D06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7C081FEF-FA5E-0177-3DBD-7648DA30A485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271463" y="6337976"/>
            <a:ext cx="1557920" cy="364701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 noProof="0" dirty="0"/>
              <a:t>  </a:t>
            </a:r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5810D51D-6293-15BF-A85B-BA533AD3D5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48081" y="1"/>
            <a:ext cx="5472456" cy="6632221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spcAft>
                <a:spcPts val="3300"/>
              </a:spcAft>
              <a:buNone/>
              <a:defRPr lang="sv-SE" sz="3300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</p:txBody>
      </p:sp>
      <p:sp>
        <p:nvSpPr>
          <p:cNvPr id="2" name="Platshållare för text 29">
            <a:extLst>
              <a:ext uri="{FF2B5EF4-FFF2-40B4-BE49-F238E27FC236}">
                <a16:creationId xmlns:a16="http://schemas.microsoft.com/office/drawing/2014/main" id="{815B3979-4E02-E811-D6D1-3C9F368754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8080" y="6495769"/>
            <a:ext cx="5472456" cy="274638"/>
          </a:xfrm>
        </p:spPr>
        <p:txBody>
          <a:bodyPr anchor="ctr"/>
          <a:lstStyle>
            <a:lvl1pPr marL="0" indent="0" algn="r">
              <a:buNone/>
              <a:defRPr sz="1200">
                <a:latin typeface="Georgia" panose="02040502050405020303" pitchFamily="18" charset="0"/>
              </a:defRPr>
            </a:lvl1pPr>
          </a:lstStyle>
          <a:p>
            <a:pPr lvl="0"/>
            <a:r>
              <a:rPr lang="en-GB" noProof="0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4943711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headline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0F98764-CE83-C7A4-80DF-609183ECEB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467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F98764-CE83-C7A4-80DF-609183ECEB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88D3EB1-3096-231A-55E4-A3604EDC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C3FD7F7-0659-3DE1-3172-F39434A08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3691" y="6356350"/>
            <a:ext cx="3046086" cy="365125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6ED26201-7848-6EDF-F3C3-9CC2F91D06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7C081FEF-FA5E-0177-3DBD-7648DA30A485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271463" y="6337976"/>
            <a:ext cx="1557920" cy="364701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 noProof="0" dirty="0"/>
              <a:t>  </a:t>
            </a:r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5810D51D-6293-15BF-A85B-BA533AD3D5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48081" y="1"/>
            <a:ext cx="5472456" cy="6626577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lnSpc>
                <a:spcPct val="95000"/>
              </a:lnSpc>
              <a:spcAft>
                <a:spcPts val="4300"/>
              </a:spcAft>
              <a:buNone/>
              <a:defRPr lang="sv-SE" sz="5300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</p:txBody>
      </p:sp>
      <p:sp>
        <p:nvSpPr>
          <p:cNvPr id="3" name="Platshållare för text 29">
            <a:extLst>
              <a:ext uri="{FF2B5EF4-FFF2-40B4-BE49-F238E27FC236}">
                <a16:creationId xmlns:a16="http://schemas.microsoft.com/office/drawing/2014/main" id="{E19A32E0-9A15-2605-C272-4F66EA12AC2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48080" y="6495769"/>
            <a:ext cx="5472456" cy="274638"/>
          </a:xfrm>
        </p:spPr>
        <p:txBody>
          <a:bodyPr anchor="ctr"/>
          <a:lstStyle>
            <a:lvl1pPr marL="0" indent="0" algn="r">
              <a:buNone/>
              <a:defRPr sz="1200">
                <a:latin typeface="Georgia" panose="02040502050405020303" pitchFamily="18" charset="0"/>
              </a:defRPr>
            </a:lvl1pPr>
          </a:lstStyle>
          <a:p>
            <a:pPr lvl="0"/>
            <a:r>
              <a:rPr lang="en-GB" noProof="0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6268202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 (light 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0F98764-CE83-C7A4-80DF-609183ECEB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020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F98764-CE83-C7A4-80DF-609183ECEB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DB290802-7C24-A541-0CDB-46F8E99AD840}"/>
              </a:ext>
            </a:extLst>
          </p:cNvPr>
          <p:cNvSpPr/>
          <p:nvPr userDrawn="1"/>
        </p:nvSpPr>
        <p:spPr>
          <a:xfrm>
            <a:off x="6432224" y="0"/>
            <a:ext cx="5759775" cy="6858000"/>
          </a:xfrm>
          <a:prstGeom prst="rect">
            <a:avLst/>
          </a:prstGeom>
          <a:solidFill>
            <a:srgbClr val="FFDC9B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88D3EB1-3096-231A-55E4-A3604EDC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C3FD7F7-0659-3DE1-3172-F39434A08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3691" y="6356350"/>
            <a:ext cx="3046086" cy="365125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79B8A42-B383-7D63-6FF1-E02F77E20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32FE3F53-A720-274A-6BC0-B4289D6437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36550"/>
            <a:ext cx="5884333" cy="61468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2" name="Platshållare för innehåll 2">
            <a:extLst>
              <a:ext uri="{FF2B5EF4-FFF2-40B4-BE49-F238E27FC236}">
                <a16:creationId xmlns:a16="http://schemas.microsoft.com/office/drawing/2014/main" id="{70D814DA-9ED1-D1B8-E067-5D1D86A324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45" y="1843087"/>
            <a:ext cx="5120032" cy="4333875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9" name="Rubrik 1">
            <a:extLst>
              <a:ext uri="{FF2B5EF4-FFF2-40B4-BE49-F238E27FC236}">
                <a16:creationId xmlns:a16="http://schemas.microsoft.com/office/drawing/2014/main" id="{E20AF042-B964-887B-006E-5C596454DC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45" y="368301"/>
            <a:ext cx="5120032" cy="1255092"/>
          </a:xfrm>
        </p:spPr>
        <p:txBody>
          <a:bodyPr/>
          <a:lstStyle/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125337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0F98764-CE83-C7A4-80DF-609183ECEB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0179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F98764-CE83-C7A4-80DF-609183ECEB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DB290802-7C24-A541-0CDB-46F8E99AD840}"/>
              </a:ext>
            </a:extLst>
          </p:cNvPr>
          <p:cNvSpPr/>
          <p:nvPr userDrawn="1"/>
        </p:nvSpPr>
        <p:spPr>
          <a:xfrm>
            <a:off x="6432224" y="0"/>
            <a:ext cx="575977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88D3EB1-3096-231A-55E4-A3604EDC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C3FD7F7-0659-3DE1-3172-F39434A08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3691" y="6356350"/>
            <a:ext cx="3046086" cy="365125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79B8A42-B383-7D63-6FF1-E02F77E20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32FE3F53-A720-274A-6BC0-B4289D6437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36550"/>
            <a:ext cx="5884333" cy="61468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2" name="Platshållare för innehåll 2">
            <a:extLst>
              <a:ext uri="{FF2B5EF4-FFF2-40B4-BE49-F238E27FC236}">
                <a16:creationId xmlns:a16="http://schemas.microsoft.com/office/drawing/2014/main" id="{98F87514-3120-07A4-E772-C73445550F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45" y="1843087"/>
            <a:ext cx="5120032" cy="4333875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8D172946-6B00-D6F6-B099-7A38D0ECBB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45" y="368301"/>
            <a:ext cx="5120032" cy="1255092"/>
          </a:xfrm>
        </p:spPr>
        <p:txBody>
          <a:bodyPr/>
          <a:lstStyle/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430178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0F98764-CE83-C7A4-80DF-609183ECEB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0726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F98764-CE83-C7A4-80DF-609183ECEB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88D3EB1-3096-231A-55E4-A3604EDC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C3FD7F7-0659-3DE1-3172-F39434A08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3691" y="6356350"/>
            <a:ext cx="3046086" cy="365125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6ED26201-7848-6EDF-F3C3-9CC2F91D06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429000"/>
            <a:ext cx="6096000" cy="34200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79B8A42-B383-7D63-6FF1-E02F77E20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" name="Platshållare för bild 9">
            <a:extLst>
              <a:ext uri="{FF2B5EF4-FFF2-40B4-BE49-F238E27FC236}">
                <a16:creationId xmlns:a16="http://schemas.microsoft.com/office/drawing/2014/main" id="{4F726445-8976-B32B-6180-321603AEE85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-363"/>
            <a:ext cx="6096000" cy="34560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D4033E49-21F8-720B-83C4-2B11395E01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45" y="1843087"/>
            <a:ext cx="5120032" cy="4333875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9" name="Rubrik 1">
            <a:extLst>
              <a:ext uri="{FF2B5EF4-FFF2-40B4-BE49-F238E27FC236}">
                <a16:creationId xmlns:a16="http://schemas.microsoft.com/office/drawing/2014/main" id="{7D622A49-D4F3-29E1-3637-5FE5D0C26C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45" y="368301"/>
            <a:ext cx="5120032" cy="1255092"/>
          </a:xfrm>
        </p:spPr>
        <p:txBody>
          <a:bodyPr/>
          <a:lstStyle/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086711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0F98764-CE83-C7A4-80DF-609183ECEB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9654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F98764-CE83-C7A4-80DF-609183ECEB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bild 9">
            <a:extLst>
              <a:ext uri="{FF2B5EF4-FFF2-40B4-BE49-F238E27FC236}">
                <a16:creationId xmlns:a16="http://schemas.microsoft.com/office/drawing/2014/main" id="{A8522A7A-DD59-6700-FAF0-4284F87D75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429000"/>
            <a:ext cx="6096000" cy="34200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9" name="Platshållare för bild 9">
            <a:extLst>
              <a:ext uri="{FF2B5EF4-FFF2-40B4-BE49-F238E27FC236}">
                <a16:creationId xmlns:a16="http://schemas.microsoft.com/office/drawing/2014/main" id="{74FF75BB-1086-56A2-74D7-6DB56FC3732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-363"/>
            <a:ext cx="6096000" cy="34560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88D3EB1-3096-231A-55E4-A3604EDC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C3FD7F7-0659-3DE1-3172-F39434A08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3691" y="6356350"/>
            <a:ext cx="3046086" cy="365125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79B8A42-B383-7D63-6FF1-E02F77E20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3" name="Logo">
            <a:extLst>
              <a:ext uri="{FF2B5EF4-FFF2-40B4-BE49-F238E27FC236}">
                <a16:creationId xmlns:a16="http://schemas.microsoft.com/office/drawing/2014/main" id="{D7E03A20-0927-FEFB-F559-66DDAECB3F3F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271463" y="6337976"/>
            <a:ext cx="1557920" cy="364701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 noProof="0" dirty="0"/>
              <a:t>  </a:t>
            </a:r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FB4389EA-F274-CE23-9D39-FF9F053823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48081" y="1843087"/>
            <a:ext cx="5120032" cy="4333875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BC2AC016-6BBC-609E-FE8C-4ECB364F6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8081" y="368301"/>
            <a:ext cx="5120032" cy="1255092"/>
          </a:xfrm>
        </p:spPr>
        <p:txBody>
          <a:bodyPr/>
          <a:lstStyle/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562489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0F98764-CE83-C7A4-80DF-609183ECEB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68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F98764-CE83-C7A4-80DF-609183ECEB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88D3EB1-3096-231A-55E4-A3604EDC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C3FD7F7-0659-3DE1-3172-F39434A08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3691" y="6356350"/>
            <a:ext cx="3046086" cy="365125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6ED26201-7848-6EDF-F3C3-9CC2F91D06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963024" y="0"/>
            <a:ext cx="3228975" cy="68580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79B8A42-B383-7D63-6FF1-E02F77E20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" name="Platshållare för innehåll 2">
            <a:extLst>
              <a:ext uri="{FF2B5EF4-FFF2-40B4-BE49-F238E27FC236}">
                <a16:creationId xmlns:a16="http://schemas.microsoft.com/office/drawing/2014/main" id="{7C228C4F-373F-BA3F-2F05-E161493897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1843087"/>
            <a:ext cx="8032128" cy="4333875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5A4E40F3-5F19-E2CF-F2C4-998003F876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368301"/>
            <a:ext cx="8032128" cy="1255092"/>
          </a:xfrm>
        </p:spPr>
        <p:txBody>
          <a:bodyPr/>
          <a:lstStyle/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702126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0F98764-CE83-C7A4-80DF-609183ECEB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8743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F98764-CE83-C7A4-80DF-609183ECEB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88D3EB1-3096-231A-55E4-A3604EDC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C3FD7F7-0659-3DE1-3172-F39434A08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03613" y="6356350"/>
            <a:ext cx="3046086" cy="365125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6ED26201-7848-6EDF-F3C3-9CC2F91D06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3228975" cy="68580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79B8A42-B383-7D63-6FF1-E02F77E20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2" name="Logo">
            <a:extLst>
              <a:ext uri="{FF2B5EF4-FFF2-40B4-BE49-F238E27FC236}">
                <a16:creationId xmlns:a16="http://schemas.microsoft.com/office/drawing/2014/main" id="{8E7E6DDB-F2C7-0239-1A55-0AC0F2E99AD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271463" y="6337976"/>
            <a:ext cx="1557920" cy="364701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 noProof="0" dirty="0"/>
              <a:t>  </a:t>
            </a:r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BB1BEAFA-CFFB-E298-FF2B-7F003F7394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3613" y="1843087"/>
            <a:ext cx="8032128" cy="4333875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9" name="Rubrik 1">
            <a:extLst>
              <a:ext uri="{FF2B5EF4-FFF2-40B4-BE49-F238E27FC236}">
                <a16:creationId xmlns:a16="http://schemas.microsoft.com/office/drawing/2014/main" id="{26995C9F-01A5-3184-F7AF-29689819EA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3613" y="368301"/>
            <a:ext cx="8032128" cy="1255092"/>
          </a:xfrm>
        </p:spPr>
        <p:txBody>
          <a:bodyPr/>
          <a:lstStyle/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9185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boxes and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0130178-01F0-5C38-7A71-F9D73FE24A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041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130178-01F0-5C38-7A71-F9D73FE24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Picture Placeholder 121">
            <a:extLst>
              <a:ext uri="{FF2B5EF4-FFF2-40B4-BE49-F238E27FC236}">
                <a16:creationId xmlns:a16="http://schemas.microsoft.com/office/drawing/2014/main" id="{D823D801-B363-4853-987D-1D8DB5AF8B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266319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 lang="en-GB" dirty="0">
                <a:solidFill>
                  <a:schemeClr val="bg1"/>
                </a:solidFill>
              </a:defRPr>
            </a:lvl1pPr>
          </a:lstStyle>
          <a:p>
            <a:pPr marL="228600" lvl="0" indent="-228600" algn="ctr"/>
            <a:r>
              <a:rPr lang="en-GB" noProof="0"/>
              <a:t>Click to add photo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309BDBE-6411-C9D9-DC93-849F72597C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2883577"/>
            <a:ext cx="10512426" cy="545423"/>
          </a:xfrm>
        </p:spPr>
        <p:txBody>
          <a:bodyPr vert="horz" lIns="0" tIns="0" rIns="0" bIns="0" rtlCol="0" anchor="b">
            <a:noAutofit/>
          </a:bodyPr>
          <a:lstStyle>
            <a:lvl1pPr>
              <a:defRPr lang="sv-SE" dirty="0"/>
            </a:lvl1pPr>
          </a:lstStyle>
          <a:p>
            <a:pPr lvl="0"/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  <p:sp>
        <p:nvSpPr>
          <p:cNvPr id="7" name="Platshållare för text 5">
            <a:extLst>
              <a:ext uri="{FF2B5EF4-FFF2-40B4-BE49-F238E27FC236}">
                <a16:creationId xmlns:a16="http://schemas.microsoft.com/office/drawing/2014/main" id="{D80BF848-7E54-A993-9D53-4B7FA8C78FA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32549" y="3649386"/>
            <a:ext cx="5135563" cy="2532339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 smtClean="0"/>
            </a:lvl1pPr>
            <a:lvl2pPr>
              <a:defRPr lang="sv-SE" dirty="0" smtClean="0"/>
            </a:lvl2pPr>
            <a:lvl3pPr>
              <a:defRPr lang="sv-SE" dirty="0" smtClean="0"/>
            </a:lvl3pPr>
            <a:lvl4pPr>
              <a:defRPr lang="sv-SE" dirty="0" smtClean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9" name="Platshållare för text 5">
            <a:extLst>
              <a:ext uri="{FF2B5EF4-FFF2-40B4-BE49-F238E27FC236}">
                <a16:creationId xmlns:a16="http://schemas.microsoft.com/office/drawing/2014/main" id="{632F9905-A1C7-466E-188F-80997734E3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88" y="3649386"/>
            <a:ext cx="5135563" cy="2532339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 smtClean="0"/>
            </a:lvl1pPr>
            <a:lvl2pPr>
              <a:defRPr lang="sv-SE" dirty="0" smtClean="0"/>
            </a:lvl2pPr>
            <a:lvl3pPr>
              <a:defRPr lang="sv-SE" dirty="0" smtClean="0"/>
            </a:lvl3pPr>
            <a:lvl4pPr>
              <a:defRPr lang="sv-SE" dirty="0" smtClean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52812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59">
          <p15:clr>
            <a:srgbClr val="FBAE40"/>
          </p15:clr>
        </p15:guide>
        <p15:guide id="3" orient="horz" pos="867">
          <p15:clr>
            <a:srgbClr val="FBAE40"/>
          </p15:clr>
        </p15:guide>
        <p15:guide id="4" orient="horz" pos="2818">
          <p15:clr>
            <a:srgbClr val="FBAE40"/>
          </p15:clr>
        </p15:guide>
        <p15:guide id="5" orient="horz" pos="240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 box and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0130178-01F0-5C38-7A71-F9D73FE24A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7063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130178-01F0-5C38-7A71-F9D73FE24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Picture Placeholder 121">
            <a:extLst>
              <a:ext uri="{FF2B5EF4-FFF2-40B4-BE49-F238E27FC236}">
                <a16:creationId xmlns:a16="http://schemas.microsoft.com/office/drawing/2014/main" id="{D823D801-B363-4853-987D-1D8DB5AF8B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266319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 lang="en-GB" dirty="0">
                <a:solidFill>
                  <a:schemeClr val="bg1"/>
                </a:solidFill>
              </a:defRPr>
            </a:lvl1pPr>
          </a:lstStyle>
          <a:p>
            <a:pPr marL="228600" lvl="0" indent="-228600" algn="ctr"/>
            <a:r>
              <a:rPr lang="en-GB" noProof="0"/>
              <a:t>Click to add photo</a:t>
            </a:r>
          </a:p>
        </p:txBody>
      </p:sp>
      <p:sp>
        <p:nvSpPr>
          <p:cNvPr id="9" name="Platshållare för text 5">
            <a:extLst>
              <a:ext uri="{FF2B5EF4-FFF2-40B4-BE49-F238E27FC236}">
                <a16:creationId xmlns:a16="http://schemas.microsoft.com/office/drawing/2014/main" id="{632F9905-A1C7-466E-188F-80997734E3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88" y="3649386"/>
            <a:ext cx="10944225" cy="2532339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 smtClean="0"/>
            </a:lvl1pPr>
            <a:lvl2pPr>
              <a:defRPr lang="sv-SE" dirty="0" smtClean="0"/>
            </a:lvl2pPr>
            <a:lvl3pPr>
              <a:defRPr lang="sv-SE" dirty="0" smtClean="0"/>
            </a:lvl3pPr>
            <a:lvl4pPr>
              <a:defRPr lang="sv-SE" dirty="0" smtClean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69CB82AA-477B-040C-12B3-81E0E5AAF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2883577"/>
            <a:ext cx="10512426" cy="545423"/>
          </a:xfrm>
        </p:spPr>
        <p:txBody>
          <a:bodyPr vert="horz" lIns="0" tIns="0" rIns="0" bIns="0" rtlCol="0" anchor="b">
            <a:noAutofit/>
          </a:bodyPr>
          <a:lstStyle>
            <a:lvl1pPr>
              <a:defRPr lang="sv-SE" dirty="0"/>
            </a:lvl1pPr>
          </a:lstStyle>
          <a:p>
            <a:pPr lvl="0"/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10924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59">
          <p15:clr>
            <a:srgbClr val="FBAE40"/>
          </p15:clr>
        </p15:guide>
        <p15:guide id="3" orient="horz" pos="867">
          <p15:clr>
            <a:srgbClr val="FBAE40"/>
          </p15:clr>
        </p15:guide>
        <p15:guide id="4" orient="horz" pos="2818">
          <p15:clr>
            <a:srgbClr val="FBAE40"/>
          </p15:clr>
        </p15:guide>
        <p15:guide id="5" orient="horz" pos="2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w sub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58AD1EB-C213-97CE-19A9-CA7E434AC4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5106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8AD1EB-C213-97CE-19A9-CA7E434AC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D3F927C8-267A-7AC0-1479-1F3BA53556C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340506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EB7C1E6E-ED0B-C976-37C2-B9A19CF3B0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8" y="4524490"/>
            <a:ext cx="10944225" cy="1079384"/>
          </a:xfrm>
        </p:spPr>
        <p:txBody>
          <a:bodyPr vert="horz" anchor="b"/>
          <a:lstStyle>
            <a:lvl1pPr algn="l">
              <a:lnSpc>
                <a:spcPct val="85000"/>
              </a:lnSpc>
              <a:defRPr sz="3300">
                <a:solidFill>
                  <a:schemeClr val="accent1"/>
                </a:solidFill>
              </a:defRPr>
            </a:lvl1pPr>
          </a:lstStyle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ED8B5B19-6B24-9F7F-A57D-7854F2E915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90" y="5657850"/>
            <a:ext cx="10944224" cy="56462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Georgia" panose="02040502050405020303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noProof="0"/>
              <a:t>Klicka här för att ändra mall för underrubrikformat</a:t>
            </a:r>
            <a:endParaRPr lang="en-GB" noProof="0" dirty="0"/>
          </a:p>
        </p:txBody>
      </p:sp>
      <p:sp>
        <p:nvSpPr>
          <p:cNvPr id="30" name="Platshållare för text 29">
            <a:extLst>
              <a:ext uri="{FF2B5EF4-FFF2-40B4-BE49-F238E27FC236}">
                <a16:creationId xmlns:a16="http://schemas.microsoft.com/office/drawing/2014/main" id="{49DC8E5A-501F-58E7-1CA4-5F175048FFD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6375" y="6401196"/>
            <a:ext cx="6281738" cy="274638"/>
          </a:xfrm>
        </p:spPr>
        <p:txBody>
          <a:bodyPr anchor="ctr"/>
          <a:lstStyle>
            <a:lvl1pPr marL="0" indent="0" algn="r">
              <a:buNone/>
              <a:defRPr sz="1200">
                <a:latin typeface="Georgia" panose="02040502050405020303" pitchFamily="18" charset="0"/>
              </a:defRPr>
            </a:lvl1pPr>
          </a:lstStyle>
          <a:p>
            <a:pPr lvl="0"/>
            <a:r>
              <a:rPr lang="en-GB" noProof="0" dirty="0" err="1"/>
              <a:t>Namn</a:t>
            </a:r>
            <a:r>
              <a:rPr lang="en-GB" noProof="0" dirty="0"/>
              <a:t> – Datum – Forum </a:t>
            </a:r>
          </a:p>
        </p:txBody>
      </p:sp>
    </p:spTree>
    <p:extLst>
      <p:ext uri="{BB962C8B-B14F-4D97-AF65-F5344CB8AC3E}">
        <p14:creationId xmlns:p14="http://schemas.microsoft.com/office/powerpoint/2010/main" val="676463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27" userDrawn="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0130178-01F0-5C38-7A71-F9D73FE24A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1295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130178-01F0-5C38-7A71-F9D73FE24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Picture Placeholder 121">
            <a:extLst>
              <a:ext uri="{FF2B5EF4-FFF2-40B4-BE49-F238E27FC236}">
                <a16:creationId xmlns:a16="http://schemas.microsoft.com/office/drawing/2014/main" id="{D823D801-B363-4853-987D-1D8DB5AF8B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6181724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 lang="en-GB" dirty="0">
                <a:solidFill>
                  <a:schemeClr val="bg1"/>
                </a:solidFill>
              </a:defRPr>
            </a:lvl1pPr>
          </a:lstStyle>
          <a:p>
            <a:pPr marL="228600" lvl="0" indent="-228600" algn="ctr"/>
            <a:r>
              <a:rPr lang="en-GB"/>
              <a:t>Click to add photo</a:t>
            </a:r>
          </a:p>
        </p:txBody>
      </p:sp>
    </p:spTree>
    <p:extLst>
      <p:ext uri="{BB962C8B-B14F-4D97-AF65-F5344CB8AC3E}">
        <p14:creationId xmlns:p14="http://schemas.microsoft.com/office/powerpoint/2010/main" val="3980885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59">
          <p15:clr>
            <a:srgbClr val="FBAE40"/>
          </p15:clr>
        </p15:guide>
        <p15:guide id="3" orient="horz" pos="867">
          <p15:clr>
            <a:srgbClr val="FBAE40"/>
          </p15:clr>
        </p15:guide>
        <p15:guide id="4" orient="horz" pos="2818">
          <p15:clr>
            <a:srgbClr val="FBAE40"/>
          </p15:clr>
        </p15:guide>
        <p15:guide id="5" orient="horz" pos="2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E4485A8-1B64-2950-7F91-D43857FAC4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2736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4485A8-1B64-2950-7F91-D43857FAC4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F5EB55AC-972E-427E-1336-BDD630DC16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1ACC603-2132-44A6-1A69-66E4D38021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1E9F694-2E1F-4909-5B14-C44F1CCE0A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B00A9023-64BD-F07F-B23F-6EEF93B229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653382"/>
            <a:ext cx="10512425" cy="3551237"/>
          </a:xfrm>
        </p:spPr>
        <p:txBody>
          <a:bodyPr anchor="ctr"/>
          <a:lstStyle>
            <a:lvl1pPr marL="0" indent="0" algn="ctr">
              <a:lnSpc>
                <a:spcPct val="95000"/>
              </a:lnSpc>
              <a:spcAft>
                <a:spcPts val="4300"/>
              </a:spcAft>
              <a:buNone/>
              <a:defRPr sz="5300" b="1" cap="all" baseline="0">
                <a:solidFill>
                  <a:schemeClr val="tx1"/>
                </a:solidFill>
                <a:latin typeface="+mj-lt"/>
              </a:defRPr>
            </a:lvl1pPr>
            <a:lvl2pPr>
              <a:defRPr sz="5300" b="1" cap="all" baseline="0">
                <a:solidFill>
                  <a:schemeClr val="accent1"/>
                </a:solidFill>
              </a:defRPr>
            </a:lvl2pPr>
            <a:lvl3pPr>
              <a:defRPr sz="5300" b="1" cap="all" baseline="0">
                <a:solidFill>
                  <a:schemeClr val="accent1"/>
                </a:solidFill>
              </a:defRPr>
            </a:lvl3pPr>
            <a:lvl4pPr>
              <a:defRPr sz="5300" b="1" cap="all" baseline="0">
                <a:solidFill>
                  <a:schemeClr val="accent1"/>
                </a:solidFill>
              </a:defRPr>
            </a:lvl4pPr>
            <a:lvl5pPr>
              <a:defRPr sz="5300" b="1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1538982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383E0DBA-9805-9F7E-0247-D5A7075635F2}"/>
              </a:ext>
            </a:extLst>
          </p:cNvPr>
          <p:cNvSpPr/>
          <p:nvPr userDrawn="1"/>
        </p:nvSpPr>
        <p:spPr>
          <a:xfrm>
            <a:off x="1899930" y="1026355"/>
            <a:ext cx="3706544" cy="48052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282ADBE9-0D24-087B-0307-C6007DDCAEFC}"/>
              </a:ext>
            </a:extLst>
          </p:cNvPr>
          <p:cNvSpPr/>
          <p:nvPr userDrawn="1"/>
        </p:nvSpPr>
        <p:spPr>
          <a:xfrm>
            <a:off x="5606473" y="0"/>
            <a:ext cx="658552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04279A5-4E0E-7403-B02E-57FBFE448B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18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4279A5-4E0E-7403-B02E-57FBFE448B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139015A7-B555-08F9-19A4-8B5191F318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97099883-D4E5-7AF7-5D79-DD4B0CF792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12350" y="4193989"/>
            <a:ext cx="4786312" cy="1069341"/>
          </a:xfrm>
        </p:spPr>
        <p:txBody>
          <a:bodyPr anchor="t"/>
          <a:lstStyle>
            <a:lvl1pPr marL="0" indent="0">
              <a:lnSpc>
                <a:spcPct val="125000"/>
              </a:lnSpc>
              <a:buNone/>
              <a:defRPr sz="2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ontact information</a:t>
            </a:r>
          </a:p>
        </p:txBody>
      </p:sp>
      <p:sp>
        <p:nvSpPr>
          <p:cNvPr id="5" name="Platshållare för text 9">
            <a:extLst>
              <a:ext uri="{FF2B5EF4-FFF2-40B4-BE49-F238E27FC236}">
                <a16:creationId xmlns:a16="http://schemas.microsoft.com/office/drawing/2014/main" id="{AE88EB53-65F7-094A-36B0-5D6E493BDFB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77625" y="2099910"/>
            <a:ext cx="4786312" cy="1434090"/>
          </a:xfrm>
        </p:spPr>
        <p:txBody>
          <a:bodyPr anchor="b"/>
          <a:lstStyle>
            <a:lvl1pPr marL="0" indent="0">
              <a:lnSpc>
                <a:spcPct val="85000"/>
              </a:lnSpc>
              <a:buNone/>
              <a:defRPr sz="5300" b="1" cap="all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grpSp>
        <p:nvGrpSpPr>
          <p:cNvPr id="14" name="7cf438db-31c6-40c9-bbab-ccf47e0b0b05">
            <a:extLst>
              <a:ext uri="{FF2B5EF4-FFF2-40B4-BE49-F238E27FC236}">
                <a16:creationId xmlns:a16="http://schemas.microsoft.com/office/drawing/2014/main" id="{0BA8F772-39F3-E095-E1F1-9BAC17698C4D}"/>
              </a:ext>
            </a:extLst>
          </p:cNvPr>
          <p:cNvGrpSpPr/>
          <p:nvPr userDrawn="1"/>
        </p:nvGrpSpPr>
        <p:grpSpPr>
          <a:xfrm>
            <a:off x="280755" y="6337300"/>
            <a:ext cx="1545411" cy="365125"/>
            <a:chOff x="4488401" y="2530239"/>
            <a:chExt cx="5599747" cy="1323022"/>
          </a:xfrm>
        </p:grpSpPr>
        <p:grpSp>
          <p:nvGrpSpPr>
            <p:cNvPr id="15" name="Graphic 7">
              <a:extLst>
                <a:ext uri="{FF2B5EF4-FFF2-40B4-BE49-F238E27FC236}">
                  <a16:creationId xmlns:a16="http://schemas.microsoft.com/office/drawing/2014/main" id="{8C411883-1D60-A988-1F12-D27998DA4978}"/>
                </a:ext>
              </a:extLst>
            </p:cNvPr>
            <p:cNvGrpSpPr/>
            <p:nvPr/>
          </p:nvGrpSpPr>
          <p:grpSpPr>
            <a:xfrm>
              <a:off x="5716174" y="2734074"/>
              <a:ext cx="4359592" cy="843914"/>
              <a:chOff x="5716174" y="2734074"/>
              <a:chExt cx="4359592" cy="843914"/>
            </a:xfrm>
            <a:solidFill>
              <a:srgbClr val="626A6E"/>
            </a:solidFill>
          </p:grpSpPr>
          <p:sp>
            <p:nvSpPr>
              <p:cNvPr id="56" name="Freeform: Shape 104">
                <a:extLst>
                  <a:ext uri="{FF2B5EF4-FFF2-40B4-BE49-F238E27FC236}">
                    <a16:creationId xmlns:a16="http://schemas.microsoft.com/office/drawing/2014/main" id="{88A2B03D-10CA-A242-4754-43F1D0996C40}"/>
                  </a:ext>
                </a:extLst>
              </p:cNvPr>
              <p:cNvSpPr/>
              <p:nvPr/>
            </p:nvSpPr>
            <p:spPr>
              <a:xfrm>
                <a:off x="5716174" y="2995059"/>
                <a:ext cx="511492" cy="582929"/>
              </a:xfrm>
              <a:custGeom>
                <a:avLst/>
                <a:gdLst>
                  <a:gd name="connsiteX0" fmla="*/ 417195 w 511492"/>
                  <a:gd name="connsiteY0" fmla="*/ 409575 h 582929"/>
                  <a:gd name="connsiteX1" fmla="*/ 287655 w 511492"/>
                  <a:gd name="connsiteY1" fmla="*/ 464820 h 582929"/>
                  <a:gd name="connsiteX2" fmla="*/ 124777 w 511492"/>
                  <a:gd name="connsiteY2" fmla="*/ 291465 h 582929"/>
                  <a:gd name="connsiteX3" fmla="*/ 287655 w 511492"/>
                  <a:gd name="connsiteY3" fmla="*/ 118110 h 582929"/>
                  <a:gd name="connsiteX4" fmla="*/ 416242 w 511492"/>
                  <a:gd name="connsiteY4" fmla="*/ 172402 h 582929"/>
                  <a:gd name="connsiteX5" fmla="*/ 431482 w 511492"/>
                  <a:gd name="connsiteY5" fmla="*/ 186690 h 582929"/>
                  <a:gd name="connsiteX6" fmla="*/ 511492 w 511492"/>
                  <a:gd name="connsiteY6" fmla="*/ 102870 h 582929"/>
                  <a:gd name="connsiteX7" fmla="*/ 499110 w 511492"/>
                  <a:gd name="connsiteY7" fmla="*/ 88582 h 582929"/>
                  <a:gd name="connsiteX8" fmla="*/ 290513 w 511492"/>
                  <a:gd name="connsiteY8" fmla="*/ 0 h 582929"/>
                  <a:gd name="connsiteX9" fmla="*/ 0 w 511492"/>
                  <a:gd name="connsiteY9" fmla="*/ 291465 h 582929"/>
                  <a:gd name="connsiteX10" fmla="*/ 290513 w 511492"/>
                  <a:gd name="connsiteY10" fmla="*/ 582930 h 582929"/>
                  <a:gd name="connsiteX11" fmla="*/ 499110 w 511492"/>
                  <a:gd name="connsiteY11" fmla="*/ 494348 h 582929"/>
                  <a:gd name="connsiteX12" fmla="*/ 511492 w 511492"/>
                  <a:gd name="connsiteY12" fmla="*/ 481013 h 582929"/>
                  <a:gd name="connsiteX13" fmla="*/ 433388 w 511492"/>
                  <a:gd name="connsiteY13" fmla="*/ 395288 h 582929"/>
                  <a:gd name="connsiteX14" fmla="*/ 417195 w 511492"/>
                  <a:gd name="connsiteY14" fmla="*/ 409575 h 582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11492" h="582929">
                    <a:moveTo>
                      <a:pt x="417195" y="409575"/>
                    </a:moveTo>
                    <a:cubicBezTo>
                      <a:pt x="380047" y="444817"/>
                      <a:pt x="334327" y="464820"/>
                      <a:pt x="287655" y="464820"/>
                    </a:cubicBezTo>
                    <a:cubicBezTo>
                      <a:pt x="193357" y="464820"/>
                      <a:pt x="124777" y="391478"/>
                      <a:pt x="124777" y="291465"/>
                    </a:cubicBezTo>
                    <a:cubicBezTo>
                      <a:pt x="124777" y="191452"/>
                      <a:pt x="193357" y="118110"/>
                      <a:pt x="287655" y="118110"/>
                    </a:cubicBezTo>
                    <a:cubicBezTo>
                      <a:pt x="336232" y="118110"/>
                      <a:pt x="378142" y="136208"/>
                      <a:pt x="416242" y="172402"/>
                    </a:cubicBezTo>
                    <a:lnTo>
                      <a:pt x="431482" y="186690"/>
                    </a:lnTo>
                    <a:lnTo>
                      <a:pt x="511492" y="102870"/>
                    </a:lnTo>
                    <a:lnTo>
                      <a:pt x="499110" y="88582"/>
                    </a:lnTo>
                    <a:cubicBezTo>
                      <a:pt x="448627" y="31432"/>
                      <a:pt x="374332" y="0"/>
                      <a:pt x="290513" y="0"/>
                    </a:cubicBezTo>
                    <a:cubicBezTo>
                      <a:pt x="122872" y="0"/>
                      <a:pt x="0" y="122873"/>
                      <a:pt x="0" y="291465"/>
                    </a:cubicBezTo>
                    <a:cubicBezTo>
                      <a:pt x="0" y="460058"/>
                      <a:pt x="121920" y="582930"/>
                      <a:pt x="290513" y="582930"/>
                    </a:cubicBezTo>
                    <a:cubicBezTo>
                      <a:pt x="374332" y="582930"/>
                      <a:pt x="447675" y="551498"/>
                      <a:pt x="499110" y="494348"/>
                    </a:cubicBezTo>
                    <a:lnTo>
                      <a:pt x="511492" y="481013"/>
                    </a:lnTo>
                    <a:lnTo>
                      <a:pt x="433388" y="395288"/>
                    </a:lnTo>
                    <a:lnTo>
                      <a:pt x="417195" y="40957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7" name="Freeform: Shape 105">
                <a:extLst>
                  <a:ext uri="{FF2B5EF4-FFF2-40B4-BE49-F238E27FC236}">
                    <a16:creationId xmlns:a16="http://schemas.microsoft.com/office/drawing/2014/main" id="{B6B8026B-5451-D040-21C6-743F041643E2}"/>
                  </a:ext>
                </a:extLst>
              </p:cNvPr>
              <p:cNvSpPr/>
              <p:nvPr/>
            </p:nvSpPr>
            <p:spPr>
              <a:xfrm>
                <a:off x="6294341" y="2734074"/>
                <a:ext cx="515309" cy="833437"/>
              </a:xfrm>
              <a:custGeom>
                <a:avLst/>
                <a:gdLst>
                  <a:gd name="connsiteX0" fmla="*/ 278130 w 515309"/>
                  <a:gd name="connsiteY0" fmla="*/ 260985 h 833437"/>
                  <a:gd name="connsiteX1" fmla="*/ 123825 w 515309"/>
                  <a:gd name="connsiteY1" fmla="*/ 312420 h 833437"/>
                  <a:gd name="connsiteX2" fmla="*/ 123825 w 515309"/>
                  <a:gd name="connsiteY2" fmla="*/ 0 h 833437"/>
                  <a:gd name="connsiteX3" fmla="*/ 0 w 515309"/>
                  <a:gd name="connsiteY3" fmla="*/ 0 h 833437"/>
                  <a:gd name="connsiteX4" fmla="*/ 0 w 515309"/>
                  <a:gd name="connsiteY4" fmla="*/ 833438 h 833437"/>
                  <a:gd name="connsiteX5" fmla="*/ 123825 w 515309"/>
                  <a:gd name="connsiteY5" fmla="*/ 833438 h 833437"/>
                  <a:gd name="connsiteX6" fmla="*/ 123825 w 515309"/>
                  <a:gd name="connsiteY6" fmla="*/ 519112 h 833437"/>
                  <a:gd name="connsiteX7" fmla="*/ 262890 w 515309"/>
                  <a:gd name="connsiteY7" fmla="*/ 380048 h 833437"/>
                  <a:gd name="connsiteX8" fmla="*/ 392430 w 515309"/>
                  <a:gd name="connsiteY8" fmla="*/ 517208 h 833437"/>
                  <a:gd name="connsiteX9" fmla="*/ 392430 w 515309"/>
                  <a:gd name="connsiteY9" fmla="*/ 833438 h 833437"/>
                  <a:gd name="connsiteX10" fmla="*/ 515302 w 515309"/>
                  <a:gd name="connsiteY10" fmla="*/ 833438 h 833437"/>
                  <a:gd name="connsiteX11" fmla="*/ 515302 w 515309"/>
                  <a:gd name="connsiteY11" fmla="*/ 489585 h 833437"/>
                  <a:gd name="connsiteX12" fmla="*/ 278130 w 515309"/>
                  <a:gd name="connsiteY12" fmla="*/ 260985 h 833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15309" h="833437">
                    <a:moveTo>
                      <a:pt x="278130" y="260985"/>
                    </a:moveTo>
                    <a:cubicBezTo>
                      <a:pt x="240030" y="260985"/>
                      <a:pt x="177165" y="268605"/>
                      <a:pt x="123825" y="312420"/>
                    </a:cubicBezTo>
                    <a:lnTo>
                      <a:pt x="123825" y="0"/>
                    </a:lnTo>
                    <a:lnTo>
                      <a:pt x="0" y="0"/>
                    </a:lnTo>
                    <a:lnTo>
                      <a:pt x="0" y="833438"/>
                    </a:lnTo>
                    <a:lnTo>
                      <a:pt x="123825" y="833438"/>
                    </a:lnTo>
                    <a:lnTo>
                      <a:pt x="123825" y="519112"/>
                    </a:lnTo>
                    <a:cubicBezTo>
                      <a:pt x="123825" y="437198"/>
                      <a:pt x="180975" y="380048"/>
                      <a:pt x="262890" y="380048"/>
                    </a:cubicBezTo>
                    <a:cubicBezTo>
                      <a:pt x="346710" y="380048"/>
                      <a:pt x="392430" y="428625"/>
                      <a:pt x="392430" y="517208"/>
                    </a:cubicBezTo>
                    <a:lnTo>
                      <a:pt x="392430" y="833438"/>
                    </a:lnTo>
                    <a:lnTo>
                      <a:pt x="515302" y="833438"/>
                    </a:lnTo>
                    <a:lnTo>
                      <a:pt x="515302" y="489585"/>
                    </a:lnTo>
                    <a:cubicBezTo>
                      <a:pt x="516255" y="352425"/>
                      <a:pt x="420052" y="260985"/>
                      <a:pt x="278130" y="260985"/>
                    </a:cubicBez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8" name="Freeform: Shape 106">
                <a:extLst>
                  <a:ext uri="{FF2B5EF4-FFF2-40B4-BE49-F238E27FC236}">
                    <a16:creationId xmlns:a16="http://schemas.microsoft.com/office/drawing/2014/main" id="{A19560EF-FE72-7F53-0388-47F3C4B4579F}"/>
                  </a:ext>
                </a:extLst>
              </p:cNvPr>
              <p:cNvSpPr/>
              <p:nvPr/>
            </p:nvSpPr>
            <p:spPr>
              <a:xfrm>
                <a:off x="7494491" y="2995059"/>
                <a:ext cx="907732" cy="572452"/>
              </a:xfrm>
              <a:custGeom>
                <a:avLst/>
                <a:gdLst>
                  <a:gd name="connsiteX0" fmla="*/ 668655 w 907732"/>
                  <a:gd name="connsiteY0" fmla="*/ 0 h 572452"/>
                  <a:gd name="connsiteX1" fmla="*/ 472440 w 907732"/>
                  <a:gd name="connsiteY1" fmla="*/ 90488 h 572452"/>
                  <a:gd name="connsiteX2" fmla="*/ 277178 w 907732"/>
                  <a:gd name="connsiteY2" fmla="*/ 0 h 572452"/>
                  <a:gd name="connsiteX3" fmla="*/ 121920 w 907732"/>
                  <a:gd name="connsiteY3" fmla="*/ 52388 h 572452"/>
                  <a:gd name="connsiteX4" fmla="*/ 121920 w 907732"/>
                  <a:gd name="connsiteY4" fmla="*/ 10477 h 572452"/>
                  <a:gd name="connsiteX5" fmla="*/ 0 w 907732"/>
                  <a:gd name="connsiteY5" fmla="*/ 10477 h 572452"/>
                  <a:gd name="connsiteX6" fmla="*/ 0 w 907732"/>
                  <a:gd name="connsiteY6" fmla="*/ 572453 h 572452"/>
                  <a:gd name="connsiteX7" fmla="*/ 123825 w 907732"/>
                  <a:gd name="connsiteY7" fmla="*/ 572453 h 572452"/>
                  <a:gd name="connsiteX8" fmla="*/ 123825 w 907732"/>
                  <a:gd name="connsiteY8" fmla="*/ 258127 h 572452"/>
                  <a:gd name="connsiteX9" fmla="*/ 262890 w 907732"/>
                  <a:gd name="connsiteY9" fmla="*/ 119063 h 572452"/>
                  <a:gd name="connsiteX10" fmla="*/ 392430 w 907732"/>
                  <a:gd name="connsiteY10" fmla="*/ 256223 h 572452"/>
                  <a:gd name="connsiteX11" fmla="*/ 392430 w 907732"/>
                  <a:gd name="connsiteY11" fmla="*/ 572453 h 572452"/>
                  <a:gd name="connsiteX12" fmla="*/ 515303 w 907732"/>
                  <a:gd name="connsiteY12" fmla="*/ 572453 h 572452"/>
                  <a:gd name="connsiteX13" fmla="*/ 515303 w 907732"/>
                  <a:gd name="connsiteY13" fmla="*/ 258127 h 572452"/>
                  <a:gd name="connsiteX14" fmla="*/ 654368 w 907732"/>
                  <a:gd name="connsiteY14" fmla="*/ 119063 h 572452"/>
                  <a:gd name="connsiteX15" fmla="*/ 784860 w 907732"/>
                  <a:gd name="connsiteY15" fmla="*/ 256223 h 572452"/>
                  <a:gd name="connsiteX16" fmla="*/ 784860 w 907732"/>
                  <a:gd name="connsiteY16" fmla="*/ 572453 h 572452"/>
                  <a:gd name="connsiteX17" fmla="*/ 907733 w 907732"/>
                  <a:gd name="connsiteY17" fmla="*/ 572453 h 572452"/>
                  <a:gd name="connsiteX18" fmla="*/ 907733 w 907732"/>
                  <a:gd name="connsiteY18" fmla="*/ 228600 h 572452"/>
                  <a:gd name="connsiteX19" fmla="*/ 668655 w 907732"/>
                  <a:gd name="connsiteY19" fmla="*/ 0 h 572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07732" h="572452">
                    <a:moveTo>
                      <a:pt x="668655" y="0"/>
                    </a:moveTo>
                    <a:cubicBezTo>
                      <a:pt x="584835" y="0"/>
                      <a:pt x="515303" y="32385"/>
                      <a:pt x="472440" y="90488"/>
                    </a:cubicBezTo>
                    <a:cubicBezTo>
                      <a:pt x="430530" y="32385"/>
                      <a:pt x="360998" y="0"/>
                      <a:pt x="277178" y="0"/>
                    </a:cubicBezTo>
                    <a:cubicBezTo>
                      <a:pt x="239078" y="0"/>
                      <a:pt x="174308" y="7620"/>
                      <a:pt x="121920" y="52388"/>
                    </a:cubicBezTo>
                    <a:lnTo>
                      <a:pt x="121920" y="10477"/>
                    </a:lnTo>
                    <a:lnTo>
                      <a:pt x="0" y="10477"/>
                    </a:lnTo>
                    <a:lnTo>
                      <a:pt x="0" y="572453"/>
                    </a:lnTo>
                    <a:lnTo>
                      <a:pt x="123825" y="572453"/>
                    </a:lnTo>
                    <a:lnTo>
                      <a:pt x="123825" y="258127"/>
                    </a:lnTo>
                    <a:cubicBezTo>
                      <a:pt x="123825" y="176213"/>
                      <a:pt x="180975" y="119063"/>
                      <a:pt x="262890" y="119063"/>
                    </a:cubicBezTo>
                    <a:cubicBezTo>
                      <a:pt x="346710" y="119063"/>
                      <a:pt x="392430" y="167640"/>
                      <a:pt x="392430" y="256223"/>
                    </a:cubicBezTo>
                    <a:lnTo>
                      <a:pt x="392430" y="572453"/>
                    </a:lnTo>
                    <a:lnTo>
                      <a:pt x="515303" y="572453"/>
                    </a:lnTo>
                    <a:lnTo>
                      <a:pt x="515303" y="258127"/>
                    </a:lnTo>
                    <a:cubicBezTo>
                      <a:pt x="515303" y="176213"/>
                      <a:pt x="572453" y="119063"/>
                      <a:pt x="654368" y="119063"/>
                    </a:cubicBezTo>
                    <a:cubicBezTo>
                      <a:pt x="738188" y="119063"/>
                      <a:pt x="784860" y="167640"/>
                      <a:pt x="784860" y="256223"/>
                    </a:cubicBezTo>
                    <a:lnTo>
                      <a:pt x="784860" y="572453"/>
                    </a:lnTo>
                    <a:lnTo>
                      <a:pt x="907733" y="572453"/>
                    </a:lnTo>
                    <a:lnTo>
                      <a:pt x="907733" y="228600"/>
                    </a:lnTo>
                    <a:cubicBezTo>
                      <a:pt x="906780" y="91440"/>
                      <a:pt x="810578" y="0"/>
                      <a:pt x="668655" y="0"/>
                    </a:cubicBez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9" name="Freeform: Shape 107">
                <a:extLst>
                  <a:ext uri="{FF2B5EF4-FFF2-40B4-BE49-F238E27FC236}">
                    <a16:creationId xmlns:a16="http://schemas.microsoft.com/office/drawing/2014/main" id="{53197FFC-D080-11C2-EACE-586E5DE7722F}"/>
                  </a:ext>
                </a:extLst>
              </p:cNvPr>
              <p:cNvSpPr/>
              <p:nvPr/>
            </p:nvSpPr>
            <p:spPr>
              <a:xfrm>
                <a:off x="6877271" y="2995059"/>
                <a:ext cx="544830" cy="582929"/>
              </a:xfrm>
              <a:custGeom>
                <a:avLst/>
                <a:gdLst>
                  <a:gd name="connsiteX0" fmla="*/ 283845 w 544830"/>
                  <a:gd name="connsiteY0" fmla="*/ 582930 h 582929"/>
                  <a:gd name="connsiteX1" fmla="*/ 0 w 544830"/>
                  <a:gd name="connsiteY1" fmla="*/ 291465 h 582929"/>
                  <a:gd name="connsiteX2" fmla="*/ 279082 w 544830"/>
                  <a:gd name="connsiteY2" fmla="*/ 0 h 582929"/>
                  <a:gd name="connsiteX3" fmla="*/ 544830 w 544830"/>
                  <a:gd name="connsiteY3" fmla="*/ 289560 h 582929"/>
                  <a:gd name="connsiteX4" fmla="*/ 542925 w 544830"/>
                  <a:gd name="connsiteY4" fmla="*/ 322898 h 582929"/>
                  <a:gd name="connsiteX5" fmla="*/ 541020 w 544830"/>
                  <a:gd name="connsiteY5" fmla="*/ 340995 h 582929"/>
                  <a:gd name="connsiteX6" fmla="*/ 129540 w 544830"/>
                  <a:gd name="connsiteY6" fmla="*/ 340995 h 582929"/>
                  <a:gd name="connsiteX7" fmla="*/ 289560 w 544830"/>
                  <a:gd name="connsiteY7" fmla="*/ 469583 h 582929"/>
                  <a:gd name="connsiteX8" fmla="*/ 441007 w 544830"/>
                  <a:gd name="connsiteY8" fmla="*/ 409575 h 582929"/>
                  <a:gd name="connsiteX9" fmla="*/ 457200 w 544830"/>
                  <a:gd name="connsiteY9" fmla="*/ 394335 h 582929"/>
                  <a:gd name="connsiteX10" fmla="*/ 526732 w 544830"/>
                  <a:gd name="connsiteY10" fmla="*/ 481965 h 582929"/>
                  <a:gd name="connsiteX11" fmla="*/ 513397 w 544830"/>
                  <a:gd name="connsiteY11" fmla="*/ 494348 h 582929"/>
                  <a:gd name="connsiteX12" fmla="*/ 283845 w 544830"/>
                  <a:gd name="connsiteY12" fmla="*/ 582930 h 582929"/>
                  <a:gd name="connsiteX13" fmla="*/ 129540 w 544830"/>
                  <a:gd name="connsiteY13" fmla="*/ 233363 h 582929"/>
                  <a:gd name="connsiteX14" fmla="*/ 415290 w 544830"/>
                  <a:gd name="connsiteY14" fmla="*/ 233363 h 582929"/>
                  <a:gd name="connsiteX15" fmla="*/ 276225 w 544830"/>
                  <a:gd name="connsiteY15" fmla="*/ 114300 h 582929"/>
                  <a:gd name="connsiteX16" fmla="*/ 129540 w 544830"/>
                  <a:gd name="connsiteY16" fmla="*/ 233363 h 582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44830" h="582929">
                    <a:moveTo>
                      <a:pt x="283845" y="582930"/>
                    </a:moveTo>
                    <a:cubicBezTo>
                      <a:pt x="116205" y="582930"/>
                      <a:pt x="0" y="462915"/>
                      <a:pt x="0" y="291465"/>
                    </a:cubicBezTo>
                    <a:cubicBezTo>
                      <a:pt x="0" y="122873"/>
                      <a:pt x="117157" y="0"/>
                      <a:pt x="279082" y="0"/>
                    </a:cubicBezTo>
                    <a:cubicBezTo>
                      <a:pt x="431482" y="0"/>
                      <a:pt x="542925" y="121920"/>
                      <a:pt x="544830" y="289560"/>
                    </a:cubicBezTo>
                    <a:cubicBezTo>
                      <a:pt x="544830" y="300990"/>
                      <a:pt x="543878" y="313373"/>
                      <a:pt x="542925" y="322898"/>
                    </a:cubicBezTo>
                    <a:lnTo>
                      <a:pt x="541020" y="340995"/>
                    </a:lnTo>
                    <a:lnTo>
                      <a:pt x="129540" y="340995"/>
                    </a:lnTo>
                    <a:cubicBezTo>
                      <a:pt x="146685" y="421005"/>
                      <a:pt x="205740" y="469583"/>
                      <a:pt x="289560" y="469583"/>
                    </a:cubicBezTo>
                    <a:cubicBezTo>
                      <a:pt x="345757" y="469583"/>
                      <a:pt x="398145" y="448628"/>
                      <a:pt x="441007" y="409575"/>
                    </a:cubicBezTo>
                    <a:lnTo>
                      <a:pt x="457200" y="394335"/>
                    </a:lnTo>
                    <a:lnTo>
                      <a:pt x="526732" y="481965"/>
                    </a:lnTo>
                    <a:lnTo>
                      <a:pt x="513397" y="494348"/>
                    </a:lnTo>
                    <a:cubicBezTo>
                      <a:pt x="449580" y="555308"/>
                      <a:pt x="377190" y="582930"/>
                      <a:pt x="283845" y="582930"/>
                    </a:cubicBezTo>
                    <a:close/>
                    <a:moveTo>
                      <a:pt x="129540" y="233363"/>
                    </a:moveTo>
                    <a:lnTo>
                      <a:pt x="415290" y="233363"/>
                    </a:lnTo>
                    <a:cubicBezTo>
                      <a:pt x="399097" y="159067"/>
                      <a:pt x="347663" y="114300"/>
                      <a:pt x="276225" y="114300"/>
                    </a:cubicBezTo>
                    <a:cubicBezTo>
                      <a:pt x="201930" y="114300"/>
                      <a:pt x="148590" y="158115"/>
                      <a:pt x="129540" y="233363"/>
                    </a:cubicBez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60" name="Freeform: Shape 108">
                <a:extLst>
                  <a:ext uri="{FF2B5EF4-FFF2-40B4-BE49-F238E27FC236}">
                    <a16:creationId xmlns:a16="http://schemas.microsoft.com/office/drawing/2014/main" id="{E02E66DE-0471-14B5-88D2-C0CC3D05F270}"/>
                  </a:ext>
                </a:extLst>
              </p:cNvPr>
              <p:cNvSpPr/>
              <p:nvPr/>
            </p:nvSpPr>
            <p:spPr>
              <a:xfrm>
                <a:off x="8482234" y="2999821"/>
                <a:ext cx="465772" cy="566737"/>
              </a:xfrm>
              <a:custGeom>
                <a:avLst/>
                <a:gdLst>
                  <a:gd name="connsiteX0" fmla="*/ 0 w 465772"/>
                  <a:gd name="connsiteY0" fmla="*/ 501015 h 566737"/>
                  <a:gd name="connsiteX1" fmla="*/ 232410 w 465772"/>
                  <a:gd name="connsiteY1" fmla="*/ 566738 h 566737"/>
                  <a:gd name="connsiteX2" fmla="*/ 465772 w 465772"/>
                  <a:gd name="connsiteY2" fmla="*/ 398145 h 566737"/>
                  <a:gd name="connsiteX3" fmla="*/ 285750 w 465772"/>
                  <a:gd name="connsiteY3" fmla="*/ 253365 h 566737"/>
                  <a:gd name="connsiteX4" fmla="*/ 233363 w 465772"/>
                  <a:gd name="connsiteY4" fmla="*/ 247650 h 566737"/>
                  <a:gd name="connsiteX5" fmla="*/ 92393 w 465772"/>
                  <a:gd name="connsiteY5" fmla="*/ 159067 h 566737"/>
                  <a:gd name="connsiteX6" fmla="*/ 240030 w 465772"/>
                  <a:gd name="connsiteY6" fmla="*/ 63818 h 566737"/>
                  <a:gd name="connsiteX7" fmla="*/ 418147 w 465772"/>
                  <a:gd name="connsiteY7" fmla="*/ 114300 h 566737"/>
                  <a:gd name="connsiteX8" fmla="*/ 451485 w 465772"/>
                  <a:gd name="connsiteY8" fmla="*/ 58102 h 566737"/>
                  <a:gd name="connsiteX9" fmla="*/ 239078 w 465772"/>
                  <a:gd name="connsiteY9" fmla="*/ 0 h 566737"/>
                  <a:gd name="connsiteX10" fmla="*/ 17145 w 465772"/>
                  <a:gd name="connsiteY10" fmla="*/ 165735 h 566737"/>
                  <a:gd name="connsiteX11" fmla="*/ 193357 w 465772"/>
                  <a:gd name="connsiteY11" fmla="*/ 311467 h 566737"/>
                  <a:gd name="connsiteX12" fmla="*/ 247650 w 465772"/>
                  <a:gd name="connsiteY12" fmla="*/ 319088 h 566737"/>
                  <a:gd name="connsiteX13" fmla="*/ 391478 w 465772"/>
                  <a:gd name="connsiteY13" fmla="*/ 406717 h 566737"/>
                  <a:gd name="connsiteX14" fmla="*/ 232410 w 465772"/>
                  <a:gd name="connsiteY14" fmla="*/ 504825 h 566737"/>
                  <a:gd name="connsiteX15" fmla="*/ 37147 w 465772"/>
                  <a:gd name="connsiteY15" fmla="*/ 445770 h 566737"/>
                  <a:gd name="connsiteX16" fmla="*/ 0 w 465772"/>
                  <a:gd name="connsiteY16" fmla="*/ 501015 h 566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65772" h="566737">
                    <a:moveTo>
                      <a:pt x="0" y="501015"/>
                    </a:moveTo>
                    <a:cubicBezTo>
                      <a:pt x="55245" y="541020"/>
                      <a:pt x="148590" y="566738"/>
                      <a:pt x="232410" y="566738"/>
                    </a:cubicBezTo>
                    <a:cubicBezTo>
                      <a:pt x="340043" y="566738"/>
                      <a:pt x="465772" y="522923"/>
                      <a:pt x="465772" y="398145"/>
                    </a:cubicBezTo>
                    <a:cubicBezTo>
                      <a:pt x="465772" y="295275"/>
                      <a:pt x="367665" y="262890"/>
                      <a:pt x="285750" y="253365"/>
                    </a:cubicBezTo>
                    <a:lnTo>
                      <a:pt x="233363" y="247650"/>
                    </a:lnTo>
                    <a:cubicBezTo>
                      <a:pt x="136207" y="237173"/>
                      <a:pt x="92393" y="209550"/>
                      <a:pt x="92393" y="159067"/>
                    </a:cubicBezTo>
                    <a:cubicBezTo>
                      <a:pt x="93345" y="100965"/>
                      <a:pt x="150495" y="63818"/>
                      <a:pt x="240030" y="63818"/>
                    </a:cubicBezTo>
                    <a:cubicBezTo>
                      <a:pt x="322897" y="63818"/>
                      <a:pt x="385763" y="94298"/>
                      <a:pt x="418147" y="114300"/>
                    </a:cubicBezTo>
                    <a:lnTo>
                      <a:pt x="451485" y="58102"/>
                    </a:lnTo>
                    <a:cubicBezTo>
                      <a:pt x="387668" y="19050"/>
                      <a:pt x="318135" y="0"/>
                      <a:pt x="239078" y="0"/>
                    </a:cubicBezTo>
                    <a:cubicBezTo>
                      <a:pt x="106680" y="0"/>
                      <a:pt x="17145" y="66675"/>
                      <a:pt x="17145" y="165735"/>
                    </a:cubicBezTo>
                    <a:cubicBezTo>
                      <a:pt x="17145" y="270510"/>
                      <a:pt x="113347" y="302895"/>
                      <a:pt x="193357" y="311467"/>
                    </a:cubicBezTo>
                    <a:lnTo>
                      <a:pt x="247650" y="319088"/>
                    </a:lnTo>
                    <a:cubicBezTo>
                      <a:pt x="309563" y="325755"/>
                      <a:pt x="391478" y="341948"/>
                      <a:pt x="391478" y="406717"/>
                    </a:cubicBezTo>
                    <a:cubicBezTo>
                      <a:pt x="391478" y="466725"/>
                      <a:pt x="330518" y="504825"/>
                      <a:pt x="232410" y="504825"/>
                    </a:cubicBezTo>
                    <a:cubicBezTo>
                      <a:pt x="157163" y="504825"/>
                      <a:pt x="80963" y="475298"/>
                      <a:pt x="37147" y="445770"/>
                    </a:cubicBezTo>
                    <a:lnTo>
                      <a:pt x="0" y="50101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61" name="Freeform: Shape 109">
                <a:extLst>
                  <a:ext uri="{FF2B5EF4-FFF2-40B4-BE49-F238E27FC236}">
                    <a16:creationId xmlns:a16="http://schemas.microsoft.com/office/drawing/2014/main" id="{82DF3A3F-EFCB-4FC5-A0FF-7330C1604168}"/>
                  </a:ext>
                </a:extLst>
              </p:cNvPr>
              <p:cNvSpPr/>
              <p:nvPr/>
            </p:nvSpPr>
            <p:spPr>
              <a:xfrm>
                <a:off x="8995631" y="2999821"/>
                <a:ext cx="526732" cy="567689"/>
              </a:xfrm>
              <a:custGeom>
                <a:avLst/>
                <a:gdLst>
                  <a:gd name="connsiteX0" fmla="*/ 270510 w 526732"/>
                  <a:gd name="connsiteY0" fmla="*/ 0 h 567689"/>
                  <a:gd name="connsiteX1" fmla="*/ 0 w 526732"/>
                  <a:gd name="connsiteY1" fmla="*/ 283845 h 567689"/>
                  <a:gd name="connsiteX2" fmla="*/ 276225 w 526732"/>
                  <a:gd name="connsiteY2" fmla="*/ 567690 h 567689"/>
                  <a:gd name="connsiteX3" fmla="*/ 498158 w 526732"/>
                  <a:gd name="connsiteY3" fmla="*/ 484823 h 567689"/>
                  <a:gd name="connsiteX4" fmla="*/ 457200 w 526732"/>
                  <a:gd name="connsiteY4" fmla="*/ 432435 h 567689"/>
                  <a:gd name="connsiteX5" fmla="*/ 281940 w 526732"/>
                  <a:gd name="connsiteY5" fmla="*/ 500063 h 567689"/>
                  <a:gd name="connsiteX6" fmla="*/ 80963 w 526732"/>
                  <a:gd name="connsiteY6" fmla="*/ 314325 h 567689"/>
                  <a:gd name="connsiteX7" fmla="*/ 80010 w 526732"/>
                  <a:gd name="connsiteY7" fmla="*/ 308610 h 567689"/>
                  <a:gd name="connsiteX8" fmla="*/ 525780 w 526732"/>
                  <a:gd name="connsiteY8" fmla="*/ 308610 h 567689"/>
                  <a:gd name="connsiteX9" fmla="*/ 526733 w 526732"/>
                  <a:gd name="connsiteY9" fmla="*/ 280988 h 567689"/>
                  <a:gd name="connsiteX10" fmla="*/ 270510 w 526732"/>
                  <a:gd name="connsiteY10" fmla="*/ 0 h 567689"/>
                  <a:gd name="connsiteX11" fmla="*/ 447675 w 526732"/>
                  <a:gd name="connsiteY11" fmla="*/ 248602 h 567689"/>
                  <a:gd name="connsiteX12" fmla="*/ 80010 w 526732"/>
                  <a:gd name="connsiteY12" fmla="*/ 248602 h 567689"/>
                  <a:gd name="connsiteX13" fmla="*/ 80963 w 526732"/>
                  <a:gd name="connsiteY13" fmla="*/ 242888 h 567689"/>
                  <a:gd name="connsiteX14" fmla="*/ 268605 w 526732"/>
                  <a:gd name="connsiteY14" fmla="*/ 67627 h 567689"/>
                  <a:gd name="connsiteX15" fmla="*/ 446722 w 526732"/>
                  <a:gd name="connsiteY15" fmla="*/ 242888 h 567689"/>
                  <a:gd name="connsiteX16" fmla="*/ 447675 w 526732"/>
                  <a:gd name="connsiteY16" fmla="*/ 248602 h 567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26732" h="567689">
                    <a:moveTo>
                      <a:pt x="270510" y="0"/>
                    </a:moveTo>
                    <a:cubicBezTo>
                      <a:pt x="113347" y="0"/>
                      <a:pt x="0" y="120015"/>
                      <a:pt x="0" y="283845"/>
                    </a:cubicBezTo>
                    <a:cubicBezTo>
                      <a:pt x="0" y="450533"/>
                      <a:pt x="113347" y="567690"/>
                      <a:pt x="276225" y="567690"/>
                    </a:cubicBezTo>
                    <a:cubicBezTo>
                      <a:pt x="366713" y="567690"/>
                      <a:pt x="437197" y="541020"/>
                      <a:pt x="498158" y="484823"/>
                    </a:cubicBezTo>
                    <a:lnTo>
                      <a:pt x="457200" y="432435"/>
                    </a:lnTo>
                    <a:cubicBezTo>
                      <a:pt x="406717" y="476250"/>
                      <a:pt x="346710" y="500063"/>
                      <a:pt x="281940" y="500063"/>
                    </a:cubicBezTo>
                    <a:cubicBezTo>
                      <a:pt x="171450" y="500063"/>
                      <a:pt x="92393" y="427673"/>
                      <a:pt x="80963" y="314325"/>
                    </a:cubicBezTo>
                    <a:lnTo>
                      <a:pt x="80010" y="308610"/>
                    </a:lnTo>
                    <a:lnTo>
                      <a:pt x="525780" y="308610"/>
                    </a:lnTo>
                    <a:cubicBezTo>
                      <a:pt x="526733" y="300038"/>
                      <a:pt x="526733" y="290513"/>
                      <a:pt x="526733" y="280988"/>
                    </a:cubicBezTo>
                    <a:cubicBezTo>
                      <a:pt x="525780" y="116205"/>
                      <a:pt x="420053" y="0"/>
                      <a:pt x="270510" y="0"/>
                    </a:cubicBezTo>
                    <a:close/>
                    <a:moveTo>
                      <a:pt x="447675" y="248602"/>
                    </a:moveTo>
                    <a:lnTo>
                      <a:pt x="80010" y="248602"/>
                    </a:lnTo>
                    <a:lnTo>
                      <a:pt x="80963" y="242888"/>
                    </a:lnTo>
                    <a:cubicBezTo>
                      <a:pt x="96203" y="135255"/>
                      <a:pt x="167640" y="67627"/>
                      <a:pt x="268605" y="67627"/>
                    </a:cubicBezTo>
                    <a:cubicBezTo>
                      <a:pt x="365760" y="67627"/>
                      <a:pt x="435292" y="136208"/>
                      <a:pt x="446722" y="242888"/>
                    </a:cubicBezTo>
                    <a:lnTo>
                      <a:pt x="447675" y="248602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62" name="Freeform: Shape 110">
                <a:extLst>
                  <a:ext uri="{FF2B5EF4-FFF2-40B4-BE49-F238E27FC236}">
                    <a16:creationId xmlns:a16="http://schemas.microsoft.com/office/drawing/2014/main" id="{FEA89DC9-ED54-C3F6-BFC4-C093574FD260}"/>
                  </a:ext>
                </a:extLst>
              </p:cNvPr>
              <p:cNvSpPr/>
              <p:nvPr/>
            </p:nvSpPr>
            <p:spPr>
              <a:xfrm>
                <a:off x="9593801" y="2999821"/>
                <a:ext cx="481964" cy="567689"/>
              </a:xfrm>
              <a:custGeom>
                <a:avLst/>
                <a:gdLst>
                  <a:gd name="connsiteX0" fmla="*/ 282893 w 481964"/>
                  <a:gd name="connsiteY0" fmla="*/ 0 h 567689"/>
                  <a:gd name="connsiteX1" fmla="*/ 0 w 481964"/>
                  <a:gd name="connsiteY1" fmla="*/ 283845 h 567689"/>
                  <a:gd name="connsiteX2" fmla="*/ 282893 w 481964"/>
                  <a:gd name="connsiteY2" fmla="*/ 567690 h 567689"/>
                  <a:gd name="connsiteX3" fmla="*/ 481965 w 481964"/>
                  <a:gd name="connsiteY3" fmla="*/ 484823 h 567689"/>
                  <a:gd name="connsiteX4" fmla="*/ 433388 w 481964"/>
                  <a:gd name="connsiteY4" fmla="*/ 431483 h 567689"/>
                  <a:gd name="connsiteX5" fmla="*/ 280035 w 481964"/>
                  <a:gd name="connsiteY5" fmla="*/ 494348 h 567689"/>
                  <a:gd name="connsiteX6" fmla="*/ 79057 w 481964"/>
                  <a:gd name="connsiteY6" fmla="*/ 282892 h 567689"/>
                  <a:gd name="connsiteX7" fmla="*/ 280035 w 481964"/>
                  <a:gd name="connsiteY7" fmla="*/ 71438 h 567689"/>
                  <a:gd name="connsiteX8" fmla="*/ 431482 w 481964"/>
                  <a:gd name="connsiteY8" fmla="*/ 134302 h 567689"/>
                  <a:gd name="connsiteX9" fmla="*/ 481013 w 481964"/>
                  <a:gd name="connsiteY9" fmla="*/ 81915 h 567689"/>
                  <a:gd name="connsiteX10" fmla="*/ 282893 w 481964"/>
                  <a:gd name="connsiteY10" fmla="*/ 0 h 567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81964" h="567689">
                    <a:moveTo>
                      <a:pt x="282893" y="0"/>
                    </a:moveTo>
                    <a:cubicBezTo>
                      <a:pt x="119063" y="0"/>
                      <a:pt x="0" y="119063"/>
                      <a:pt x="0" y="283845"/>
                    </a:cubicBezTo>
                    <a:cubicBezTo>
                      <a:pt x="0" y="448628"/>
                      <a:pt x="119063" y="567690"/>
                      <a:pt x="282893" y="567690"/>
                    </a:cubicBezTo>
                    <a:cubicBezTo>
                      <a:pt x="362902" y="567690"/>
                      <a:pt x="433388" y="538163"/>
                      <a:pt x="481965" y="484823"/>
                    </a:cubicBezTo>
                    <a:lnTo>
                      <a:pt x="433388" y="431483"/>
                    </a:lnTo>
                    <a:cubicBezTo>
                      <a:pt x="389572" y="472440"/>
                      <a:pt x="335280" y="494348"/>
                      <a:pt x="280035" y="494348"/>
                    </a:cubicBezTo>
                    <a:cubicBezTo>
                      <a:pt x="165735" y="494348"/>
                      <a:pt x="79057" y="402908"/>
                      <a:pt x="79057" y="282892"/>
                    </a:cubicBezTo>
                    <a:cubicBezTo>
                      <a:pt x="79057" y="162877"/>
                      <a:pt x="165735" y="71438"/>
                      <a:pt x="280035" y="71438"/>
                    </a:cubicBezTo>
                    <a:cubicBezTo>
                      <a:pt x="336232" y="71438"/>
                      <a:pt x="387668" y="92393"/>
                      <a:pt x="431482" y="134302"/>
                    </a:cubicBezTo>
                    <a:lnTo>
                      <a:pt x="481013" y="81915"/>
                    </a:lnTo>
                    <a:cubicBezTo>
                      <a:pt x="433388" y="29527"/>
                      <a:pt x="362902" y="0"/>
                      <a:pt x="282893" y="0"/>
                    </a:cubicBez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grpSp>
          <p:nvGrpSpPr>
            <p:cNvPr id="16" name="Graphic 7">
              <a:extLst>
                <a:ext uri="{FF2B5EF4-FFF2-40B4-BE49-F238E27FC236}">
                  <a16:creationId xmlns:a16="http://schemas.microsoft.com/office/drawing/2014/main" id="{3F77531F-64B9-29E1-F1E9-D69CD9D10C8B}"/>
                </a:ext>
              </a:extLst>
            </p:cNvPr>
            <p:cNvGrpSpPr/>
            <p:nvPr/>
          </p:nvGrpSpPr>
          <p:grpSpPr>
            <a:xfrm>
              <a:off x="5772371" y="3713244"/>
              <a:ext cx="4315777" cy="140017"/>
              <a:chOff x="5772371" y="3713244"/>
              <a:chExt cx="4315777" cy="140017"/>
            </a:xfrm>
            <a:solidFill>
              <a:srgbClr val="626A6E"/>
            </a:solidFill>
          </p:grpSpPr>
          <p:sp>
            <p:nvSpPr>
              <p:cNvPr id="24" name="Freeform: Shape 72">
                <a:extLst>
                  <a:ext uri="{FF2B5EF4-FFF2-40B4-BE49-F238E27FC236}">
                    <a16:creationId xmlns:a16="http://schemas.microsoft.com/office/drawing/2014/main" id="{111D9F7A-EDE6-CC0A-789E-759249371ECC}"/>
                  </a:ext>
                </a:extLst>
              </p:cNvPr>
              <p:cNvSpPr/>
              <p:nvPr/>
            </p:nvSpPr>
            <p:spPr>
              <a:xfrm>
                <a:off x="5772371" y="3715148"/>
                <a:ext cx="17145" cy="135255"/>
              </a:xfrm>
              <a:custGeom>
                <a:avLst/>
                <a:gdLst>
                  <a:gd name="connsiteX0" fmla="*/ 17145 w 17145"/>
                  <a:gd name="connsiteY0" fmla="*/ 0 h 135255"/>
                  <a:gd name="connsiteX1" fmla="*/ 17145 w 17145"/>
                  <a:gd name="connsiteY1" fmla="*/ 135255 h 135255"/>
                  <a:gd name="connsiteX2" fmla="*/ 0 w 17145"/>
                  <a:gd name="connsiteY2" fmla="*/ 135255 h 135255"/>
                  <a:gd name="connsiteX3" fmla="*/ 0 w 17145"/>
                  <a:gd name="connsiteY3" fmla="*/ 0 h 135255"/>
                  <a:gd name="connsiteX4" fmla="*/ 17145 w 17145"/>
                  <a:gd name="connsiteY4" fmla="*/ 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5" h="135255">
                    <a:moveTo>
                      <a:pt x="17145" y="0"/>
                    </a:moveTo>
                    <a:lnTo>
                      <a:pt x="17145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5" name="Freeform: Shape 73">
                <a:extLst>
                  <a:ext uri="{FF2B5EF4-FFF2-40B4-BE49-F238E27FC236}">
                    <a16:creationId xmlns:a16="http://schemas.microsoft.com/office/drawing/2014/main" id="{B372E84B-C717-7603-6DC7-A80234BDC583}"/>
                  </a:ext>
                </a:extLst>
              </p:cNvPr>
              <p:cNvSpPr/>
              <p:nvPr/>
            </p:nvSpPr>
            <p:spPr>
              <a:xfrm>
                <a:off x="5847618" y="3715148"/>
                <a:ext cx="100965" cy="136207"/>
              </a:xfrm>
              <a:custGeom>
                <a:avLst/>
                <a:gdLst>
                  <a:gd name="connsiteX0" fmla="*/ 0 w 100965"/>
                  <a:gd name="connsiteY0" fmla="*/ 135255 h 136207"/>
                  <a:gd name="connsiteX1" fmla="*/ 0 w 100965"/>
                  <a:gd name="connsiteY1" fmla="*/ 0 h 136207"/>
                  <a:gd name="connsiteX2" fmla="*/ 19050 w 100965"/>
                  <a:gd name="connsiteY2" fmla="*/ 0 h 136207"/>
                  <a:gd name="connsiteX3" fmla="*/ 61913 w 100965"/>
                  <a:gd name="connsiteY3" fmla="*/ 68580 h 136207"/>
                  <a:gd name="connsiteX4" fmla="*/ 85725 w 100965"/>
                  <a:gd name="connsiteY4" fmla="*/ 112395 h 136207"/>
                  <a:gd name="connsiteX5" fmla="*/ 86678 w 100965"/>
                  <a:gd name="connsiteY5" fmla="*/ 112395 h 136207"/>
                  <a:gd name="connsiteX6" fmla="*/ 84773 w 100965"/>
                  <a:gd name="connsiteY6" fmla="*/ 57150 h 136207"/>
                  <a:gd name="connsiteX7" fmla="*/ 84773 w 100965"/>
                  <a:gd name="connsiteY7" fmla="*/ 952 h 136207"/>
                  <a:gd name="connsiteX8" fmla="*/ 100965 w 100965"/>
                  <a:gd name="connsiteY8" fmla="*/ 952 h 136207"/>
                  <a:gd name="connsiteX9" fmla="*/ 100965 w 100965"/>
                  <a:gd name="connsiteY9" fmla="*/ 136207 h 136207"/>
                  <a:gd name="connsiteX10" fmla="*/ 83820 w 100965"/>
                  <a:gd name="connsiteY10" fmla="*/ 136207 h 136207"/>
                  <a:gd name="connsiteX11" fmla="*/ 40958 w 100965"/>
                  <a:gd name="connsiteY11" fmla="*/ 67627 h 136207"/>
                  <a:gd name="connsiteX12" fmla="*/ 16193 w 100965"/>
                  <a:gd name="connsiteY12" fmla="*/ 22860 h 136207"/>
                  <a:gd name="connsiteX13" fmla="*/ 15240 w 100965"/>
                  <a:gd name="connsiteY13" fmla="*/ 22860 h 136207"/>
                  <a:gd name="connsiteX14" fmla="*/ 16193 w 100965"/>
                  <a:gd name="connsiteY14" fmla="*/ 78105 h 136207"/>
                  <a:gd name="connsiteX15" fmla="*/ 16193 w 100965"/>
                  <a:gd name="connsiteY15" fmla="*/ 135255 h 136207"/>
                  <a:gd name="connsiteX16" fmla="*/ 0 w 100965"/>
                  <a:gd name="connsiteY16" fmla="*/ 135255 h 136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0965" h="136207">
                    <a:moveTo>
                      <a:pt x="0" y="135255"/>
                    </a:moveTo>
                    <a:lnTo>
                      <a:pt x="0" y="0"/>
                    </a:lnTo>
                    <a:lnTo>
                      <a:pt x="19050" y="0"/>
                    </a:lnTo>
                    <a:lnTo>
                      <a:pt x="61913" y="68580"/>
                    </a:lnTo>
                    <a:cubicBezTo>
                      <a:pt x="71438" y="84773"/>
                      <a:pt x="80010" y="98107"/>
                      <a:pt x="85725" y="112395"/>
                    </a:cubicBezTo>
                    <a:lnTo>
                      <a:pt x="86678" y="112395"/>
                    </a:lnTo>
                    <a:cubicBezTo>
                      <a:pt x="84773" y="94298"/>
                      <a:pt x="84773" y="78105"/>
                      <a:pt x="84773" y="57150"/>
                    </a:cubicBezTo>
                    <a:lnTo>
                      <a:pt x="84773" y="952"/>
                    </a:lnTo>
                    <a:lnTo>
                      <a:pt x="100965" y="952"/>
                    </a:lnTo>
                    <a:lnTo>
                      <a:pt x="100965" y="136207"/>
                    </a:lnTo>
                    <a:lnTo>
                      <a:pt x="83820" y="136207"/>
                    </a:lnTo>
                    <a:lnTo>
                      <a:pt x="40958" y="67627"/>
                    </a:lnTo>
                    <a:cubicBezTo>
                      <a:pt x="31433" y="52388"/>
                      <a:pt x="22860" y="37148"/>
                      <a:pt x="16193" y="22860"/>
                    </a:cubicBezTo>
                    <a:lnTo>
                      <a:pt x="15240" y="22860"/>
                    </a:lnTo>
                    <a:cubicBezTo>
                      <a:pt x="16193" y="40005"/>
                      <a:pt x="16193" y="56198"/>
                      <a:pt x="16193" y="78105"/>
                    </a:cubicBezTo>
                    <a:lnTo>
                      <a:pt x="16193" y="135255"/>
                    </a:lnTo>
                    <a:lnTo>
                      <a:pt x="0" y="13525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6" name="Freeform: Shape 74">
                <a:extLst>
                  <a:ext uri="{FF2B5EF4-FFF2-40B4-BE49-F238E27FC236}">
                    <a16:creationId xmlns:a16="http://schemas.microsoft.com/office/drawing/2014/main" id="{D913D74E-0FEC-1ACF-5F8C-8142FA8B5A63}"/>
                  </a:ext>
                </a:extLst>
              </p:cNvPr>
              <p:cNvSpPr/>
              <p:nvPr/>
            </p:nvSpPr>
            <p:spPr>
              <a:xfrm>
                <a:off x="5991446" y="3715148"/>
                <a:ext cx="100012" cy="135255"/>
              </a:xfrm>
              <a:custGeom>
                <a:avLst/>
                <a:gdLst>
                  <a:gd name="connsiteX0" fmla="*/ 40958 w 100012"/>
                  <a:gd name="connsiteY0" fmla="*/ 15240 h 135255"/>
                  <a:gd name="connsiteX1" fmla="*/ 0 w 100012"/>
                  <a:gd name="connsiteY1" fmla="*/ 15240 h 135255"/>
                  <a:gd name="connsiteX2" fmla="*/ 0 w 100012"/>
                  <a:gd name="connsiteY2" fmla="*/ 0 h 135255"/>
                  <a:gd name="connsiteX3" fmla="*/ 100013 w 100012"/>
                  <a:gd name="connsiteY3" fmla="*/ 0 h 135255"/>
                  <a:gd name="connsiteX4" fmla="*/ 100013 w 100012"/>
                  <a:gd name="connsiteY4" fmla="*/ 15240 h 135255"/>
                  <a:gd name="connsiteX5" fmla="*/ 59055 w 100012"/>
                  <a:gd name="connsiteY5" fmla="*/ 15240 h 135255"/>
                  <a:gd name="connsiteX6" fmla="*/ 59055 w 100012"/>
                  <a:gd name="connsiteY6" fmla="*/ 135255 h 135255"/>
                  <a:gd name="connsiteX7" fmla="*/ 41910 w 100012"/>
                  <a:gd name="connsiteY7" fmla="*/ 135255 h 135255"/>
                  <a:gd name="connsiteX8" fmla="*/ 41910 w 100012"/>
                  <a:gd name="connsiteY8" fmla="*/ 1524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12" h="135255">
                    <a:moveTo>
                      <a:pt x="40958" y="15240"/>
                    </a:moveTo>
                    <a:lnTo>
                      <a:pt x="0" y="15240"/>
                    </a:lnTo>
                    <a:lnTo>
                      <a:pt x="0" y="0"/>
                    </a:lnTo>
                    <a:lnTo>
                      <a:pt x="100013" y="0"/>
                    </a:lnTo>
                    <a:lnTo>
                      <a:pt x="100013" y="15240"/>
                    </a:lnTo>
                    <a:lnTo>
                      <a:pt x="59055" y="15240"/>
                    </a:lnTo>
                    <a:lnTo>
                      <a:pt x="59055" y="135255"/>
                    </a:lnTo>
                    <a:lnTo>
                      <a:pt x="41910" y="135255"/>
                    </a:lnTo>
                    <a:lnTo>
                      <a:pt x="41910" y="1524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7" name="Freeform: Shape 75">
                <a:extLst>
                  <a:ext uri="{FF2B5EF4-FFF2-40B4-BE49-F238E27FC236}">
                    <a16:creationId xmlns:a16="http://schemas.microsoft.com/office/drawing/2014/main" id="{507C0216-3816-7143-8185-2EA45A9EE050}"/>
                  </a:ext>
                </a:extLst>
              </p:cNvPr>
              <p:cNvSpPr/>
              <p:nvPr/>
            </p:nvSpPr>
            <p:spPr>
              <a:xfrm>
                <a:off x="6133368" y="3714196"/>
                <a:ext cx="76200" cy="135254"/>
              </a:xfrm>
              <a:custGeom>
                <a:avLst/>
                <a:gdLst>
                  <a:gd name="connsiteX0" fmla="*/ 70485 w 76200"/>
                  <a:gd name="connsiteY0" fmla="*/ 72390 h 135254"/>
                  <a:gd name="connsiteX1" fmla="*/ 18098 w 76200"/>
                  <a:gd name="connsiteY1" fmla="*/ 72390 h 135254"/>
                  <a:gd name="connsiteX2" fmla="*/ 18098 w 76200"/>
                  <a:gd name="connsiteY2" fmla="*/ 120967 h 135254"/>
                  <a:gd name="connsiteX3" fmla="*/ 76200 w 76200"/>
                  <a:gd name="connsiteY3" fmla="*/ 120967 h 135254"/>
                  <a:gd name="connsiteX4" fmla="*/ 76200 w 76200"/>
                  <a:gd name="connsiteY4" fmla="*/ 135255 h 135254"/>
                  <a:gd name="connsiteX5" fmla="*/ 0 w 76200"/>
                  <a:gd name="connsiteY5" fmla="*/ 135255 h 135254"/>
                  <a:gd name="connsiteX6" fmla="*/ 0 w 76200"/>
                  <a:gd name="connsiteY6" fmla="*/ 0 h 135254"/>
                  <a:gd name="connsiteX7" fmla="*/ 73343 w 76200"/>
                  <a:gd name="connsiteY7" fmla="*/ 0 h 135254"/>
                  <a:gd name="connsiteX8" fmla="*/ 73343 w 76200"/>
                  <a:gd name="connsiteY8" fmla="*/ 14288 h 135254"/>
                  <a:gd name="connsiteX9" fmla="*/ 18098 w 76200"/>
                  <a:gd name="connsiteY9" fmla="*/ 14288 h 135254"/>
                  <a:gd name="connsiteX10" fmla="*/ 18098 w 76200"/>
                  <a:gd name="connsiteY10" fmla="*/ 57150 h 135254"/>
                  <a:gd name="connsiteX11" fmla="*/ 70485 w 76200"/>
                  <a:gd name="connsiteY11" fmla="*/ 57150 h 135254"/>
                  <a:gd name="connsiteX12" fmla="*/ 70485 w 76200"/>
                  <a:gd name="connsiteY12" fmla="*/ 72390 h 13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6200" h="135254">
                    <a:moveTo>
                      <a:pt x="70485" y="72390"/>
                    </a:moveTo>
                    <a:lnTo>
                      <a:pt x="18098" y="72390"/>
                    </a:lnTo>
                    <a:lnTo>
                      <a:pt x="18098" y="120967"/>
                    </a:lnTo>
                    <a:lnTo>
                      <a:pt x="76200" y="120967"/>
                    </a:lnTo>
                    <a:lnTo>
                      <a:pt x="76200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73343" y="0"/>
                    </a:lnTo>
                    <a:lnTo>
                      <a:pt x="73343" y="14288"/>
                    </a:lnTo>
                    <a:lnTo>
                      <a:pt x="18098" y="14288"/>
                    </a:lnTo>
                    <a:lnTo>
                      <a:pt x="18098" y="57150"/>
                    </a:lnTo>
                    <a:lnTo>
                      <a:pt x="70485" y="57150"/>
                    </a:lnTo>
                    <a:lnTo>
                      <a:pt x="70485" y="7239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8" name="Freeform: Shape 76">
                <a:extLst>
                  <a:ext uri="{FF2B5EF4-FFF2-40B4-BE49-F238E27FC236}">
                    <a16:creationId xmlns:a16="http://schemas.microsoft.com/office/drawing/2014/main" id="{41FE040C-C756-FFBA-7E86-9B01C2F6C1ED}"/>
                  </a:ext>
                </a:extLst>
              </p:cNvPr>
              <p:cNvSpPr/>
              <p:nvPr/>
            </p:nvSpPr>
            <p:spPr>
              <a:xfrm>
                <a:off x="6260051" y="3714196"/>
                <a:ext cx="88582" cy="137159"/>
              </a:xfrm>
              <a:custGeom>
                <a:avLst/>
                <a:gdLst>
                  <a:gd name="connsiteX0" fmla="*/ 0 w 88582"/>
                  <a:gd name="connsiteY0" fmla="*/ 2858 h 137159"/>
                  <a:gd name="connsiteX1" fmla="*/ 33338 w 88582"/>
                  <a:gd name="connsiteY1" fmla="*/ 0 h 137159"/>
                  <a:gd name="connsiteX2" fmla="*/ 72390 w 88582"/>
                  <a:gd name="connsiteY2" fmla="*/ 11430 h 137159"/>
                  <a:gd name="connsiteX3" fmla="*/ 82867 w 88582"/>
                  <a:gd name="connsiteY3" fmla="*/ 37147 h 137159"/>
                  <a:gd name="connsiteX4" fmla="*/ 58103 w 88582"/>
                  <a:gd name="connsiteY4" fmla="*/ 71438 h 137159"/>
                  <a:gd name="connsiteX5" fmla="*/ 58103 w 88582"/>
                  <a:gd name="connsiteY5" fmla="*/ 72390 h 137159"/>
                  <a:gd name="connsiteX6" fmla="*/ 78105 w 88582"/>
                  <a:gd name="connsiteY6" fmla="*/ 100013 h 137159"/>
                  <a:gd name="connsiteX7" fmla="*/ 88583 w 88582"/>
                  <a:gd name="connsiteY7" fmla="*/ 137160 h 137159"/>
                  <a:gd name="connsiteX8" fmla="*/ 69533 w 88582"/>
                  <a:gd name="connsiteY8" fmla="*/ 137160 h 137159"/>
                  <a:gd name="connsiteX9" fmla="*/ 60960 w 88582"/>
                  <a:gd name="connsiteY9" fmla="*/ 104775 h 137159"/>
                  <a:gd name="connsiteX10" fmla="*/ 33338 w 88582"/>
                  <a:gd name="connsiteY10" fmla="*/ 78105 h 137159"/>
                  <a:gd name="connsiteX11" fmla="*/ 17145 w 88582"/>
                  <a:gd name="connsiteY11" fmla="*/ 78105 h 137159"/>
                  <a:gd name="connsiteX12" fmla="*/ 17145 w 88582"/>
                  <a:gd name="connsiteY12" fmla="*/ 136208 h 137159"/>
                  <a:gd name="connsiteX13" fmla="*/ 0 w 88582"/>
                  <a:gd name="connsiteY13" fmla="*/ 136208 h 137159"/>
                  <a:gd name="connsiteX14" fmla="*/ 0 w 88582"/>
                  <a:gd name="connsiteY14" fmla="*/ 2858 h 137159"/>
                  <a:gd name="connsiteX15" fmla="*/ 17145 w 88582"/>
                  <a:gd name="connsiteY15" fmla="*/ 64770 h 137159"/>
                  <a:gd name="connsiteX16" fmla="*/ 35242 w 88582"/>
                  <a:gd name="connsiteY16" fmla="*/ 64770 h 137159"/>
                  <a:gd name="connsiteX17" fmla="*/ 65723 w 88582"/>
                  <a:gd name="connsiteY17" fmla="*/ 39053 h 137159"/>
                  <a:gd name="connsiteX18" fmla="*/ 34290 w 88582"/>
                  <a:gd name="connsiteY18" fmla="*/ 14288 h 137159"/>
                  <a:gd name="connsiteX19" fmla="*/ 17145 w 88582"/>
                  <a:gd name="connsiteY19" fmla="*/ 15240 h 137159"/>
                  <a:gd name="connsiteX20" fmla="*/ 17145 w 88582"/>
                  <a:gd name="connsiteY20" fmla="*/ 64770 h 137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8582" h="137159">
                    <a:moveTo>
                      <a:pt x="0" y="2858"/>
                    </a:moveTo>
                    <a:cubicBezTo>
                      <a:pt x="8573" y="952"/>
                      <a:pt x="21908" y="0"/>
                      <a:pt x="33338" y="0"/>
                    </a:cubicBezTo>
                    <a:cubicBezTo>
                      <a:pt x="52388" y="0"/>
                      <a:pt x="63817" y="3810"/>
                      <a:pt x="72390" y="11430"/>
                    </a:cubicBezTo>
                    <a:cubicBezTo>
                      <a:pt x="79058" y="17145"/>
                      <a:pt x="82867" y="26670"/>
                      <a:pt x="82867" y="37147"/>
                    </a:cubicBezTo>
                    <a:cubicBezTo>
                      <a:pt x="82867" y="54292"/>
                      <a:pt x="71438" y="66675"/>
                      <a:pt x="58103" y="71438"/>
                    </a:cubicBezTo>
                    <a:lnTo>
                      <a:pt x="58103" y="72390"/>
                    </a:lnTo>
                    <a:cubicBezTo>
                      <a:pt x="68580" y="76200"/>
                      <a:pt x="74295" y="85725"/>
                      <a:pt x="78105" y="100013"/>
                    </a:cubicBezTo>
                    <a:cubicBezTo>
                      <a:pt x="82867" y="119063"/>
                      <a:pt x="85725" y="131445"/>
                      <a:pt x="88583" y="137160"/>
                    </a:cubicBezTo>
                    <a:lnTo>
                      <a:pt x="69533" y="137160"/>
                    </a:lnTo>
                    <a:cubicBezTo>
                      <a:pt x="67628" y="133350"/>
                      <a:pt x="64770" y="121920"/>
                      <a:pt x="60960" y="104775"/>
                    </a:cubicBezTo>
                    <a:cubicBezTo>
                      <a:pt x="57150" y="85725"/>
                      <a:pt x="49530" y="79058"/>
                      <a:pt x="33338" y="78105"/>
                    </a:cubicBezTo>
                    <a:lnTo>
                      <a:pt x="17145" y="78105"/>
                    </a:lnTo>
                    <a:lnTo>
                      <a:pt x="17145" y="136208"/>
                    </a:lnTo>
                    <a:lnTo>
                      <a:pt x="0" y="136208"/>
                    </a:lnTo>
                    <a:lnTo>
                      <a:pt x="0" y="2858"/>
                    </a:lnTo>
                    <a:close/>
                    <a:moveTo>
                      <a:pt x="17145" y="64770"/>
                    </a:moveTo>
                    <a:lnTo>
                      <a:pt x="35242" y="64770"/>
                    </a:lnTo>
                    <a:cubicBezTo>
                      <a:pt x="54292" y="64770"/>
                      <a:pt x="65723" y="54292"/>
                      <a:pt x="65723" y="39053"/>
                    </a:cubicBezTo>
                    <a:cubicBezTo>
                      <a:pt x="65723" y="21908"/>
                      <a:pt x="53340" y="14288"/>
                      <a:pt x="34290" y="14288"/>
                    </a:cubicBezTo>
                    <a:cubicBezTo>
                      <a:pt x="25717" y="14288"/>
                      <a:pt x="20003" y="15240"/>
                      <a:pt x="17145" y="15240"/>
                    </a:cubicBezTo>
                    <a:lnTo>
                      <a:pt x="17145" y="6477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9" name="Freeform: Shape 77">
                <a:extLst>
                  <a:ext uri="{FF2B5EF4-FFF2-40B4-BE49-F238E27FC236}">
                    <a16:creationId xmlns:a16="http://schemas.microsoft.com/office/drawing/2014/main" id="{F3295104-DEC0-73E1-1587-B905E329DB4E}"/>
                  </a:ext>
                </a:extLst>
              </p:cNvPr>
              <p:cNvSpPr/>
              <p:nvPr/>
            </p:nvSpPr>
            <p:spPr>
              <a:xfrm>
                <a:off x="6395306" y="3715148"/>
                <a:ext cx="100965" cy="136207"/>
              </a:xfrm>
              <a:custGeom>
                <a:avLst/>
                <a:gdLst>
                  <a:gd name="connsiteX0" fmla="*/ 0 w 100965"/>
                  <a:gd name="connsiteY0" fmla="*/ 135255 h 136207"/>
                  <a:gd name="connsiteX1" fmla="*/ 0 w 100965"/>
                  <a:gd name="connsiteY1" fmla="*/ 0 h 136207"/>
                  <a:gd name="connsiteX2" fmla="*/ 19050 w 100965"/>
                  <a:gd name="connsiteY2" fmla="*/ 0 h 136207"/>
                  <a:gd name="connsiteX3" fmla="*/ 61913 w 100965"/>
                  <a:gd name="connsiteY3" fmla="*/ 68580 h 136207"/>
                  <a:gd name="connsiteX4" fmla="*/ 85725 w 100965"/>
                  <a:gd name="connsiteY4" fmla="*/ 112395 h 136207"/>
                  <a:gd name="connsiteX5" fmla="*/ 86678 w 100965"/>
                  <a:gd name="connsiteY5" fmla="*/ 112395 h 136207"/>
                  <a:gd name="connsiteX6" fmla="*/ 84773 w 100965"/>
                  <a:gd name="connsiteY6" fmla="*/ 57150 h 136207"/>
                  <a:gd name="connsiteX7" fmla="*/ 84773 w 100965"/>
                  <a:gd name="connsiteY7" fmla="*/ 952 h 136207"/>
                  <a:gd name="connsiteX8" fmla="*/ 100965 w 100965"/>
                  <a:gd name="connsiteY8" fmla="*/ 952 h 136207"/>
                  <a:gd name="connsiteX9" fmla="*/ 100965 w 100965"/>
                  <a:gd name="connsiteY9" fmla="*/ 136207 h 136207"/>
                  <a:gd name="connsiteX10" fmla="*/ 83820 w 100965"/>
                  <a:gd name="connsiteY10" fmla="*/ 136207 h 136207"/>
                  <a:gd name="connsiteX11" fmla="*/ 40958 w 100965"/>
                  <a:gd name="connsiteY11" fmla="*/ 67627 h 136207"/>
                  <a:gd name="connsiteX12" fmla="*/ 16193 w 100965"/>
                  <a:gd name="connsiteY12" fmla="*/ 22860 h 136207"/>
                  <a:gd name="connsiteX13" fmla="*/ 15240 w 100965"/>
                  <a:gd name="connsiteY13" fmla="*/ 22860 h 136207"/>
                  <a:gd name="connsiteX14" fmla="*/ 16193 w 100965"/>
                  <a:gd name="connsiteY14" fmla="*/ 78105 h 136207"/>
                  <a:gd name="connsiteX15" fmla="*/ 16193 w 100965"/>
                  <a:gd name="connsiteY15" fmla="*/ 135255 h 136207"/>
                  <a:gd name="connsiteX16" fmla="*/ 0 w 100965"/>
                  <a:gd name="connsiteY16" fmla="*/ 135255 h 136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0965" h="136207">
                    <a:moveTo>
                      <a:pt x="0" y="135255"/>
                    </a:moveTo>
                    <a:lnTo>
                      <a:pt x="0" y="0"/>
                    </a:lnTo>
                    <a:lnTo>
                      <a:pt x="19050" y="0"/>
                    </a:lnTo>
                    <a:lnTo>
                      <a:pt x="61913" y="68580"/>
                    </a:lnTo>
                    <a:cubicBezTo>
                      <a:pt x="71438" y="84773"/>
                      <a:pt x="80010" y="98107"/>
                      <a:pt x="85725" y="112395"/>
                    </a:cubicBezTo>
                    <a:lnTo>
                      <a:pt x="86678" y="112395"/>
                    </a:lnTo>
                    <a:cubicBezTo>
                      <a:pt x="84773" y="94298"/>
                      <a:pt x="84773" y="78105"/>
                      <a:pt x="84773" y="57150"/>
                    </a:cubicBezTo>
                    <a:lnTo>
                      <a:pt x="84773" y="952"/>
                    </a:lnTo>
                    <a:lnTo>
                      <a:pt x="100965" y="952"/>
                    </a:lnTo>
                    <a:lnTo>
                      <a:pt x="100965" y="136207"/>
                    </a:lnTo>
                    <a:lnTo>
                      <a:pt x="83820" y="136207"/>
                    </a:lnTo>
                    <a:lnTo>
                      <a:pt x="40958" y="67627"/>
                    </a:lnTo>
                    <a:cubicBezTo>
                      <a:pt x="31433" y="52388"/>
                      <a:pt x="22860" y="37148"/>
                      <a:pt x="16193" y="22860"/>
                    </a:cubicBezTo>
                    <a:lnTo>
                      <a:pt x="15240" y="22860"/>
                    </a:lnTo>
                    <a:cubicBezTo>
                      <a:pt x="16193" y="40005"/>
                      <a:pt x="16193" y="56198"/>
                      <a:pt x="16193" y="78105"/>
                    </a:cubicBezTo>
                    <a:lnTo>
                      <a:pt x="16193" y="135255"/>
                    </a:lnTo>
                    <a:lnTo>
                      <a:pt x="0" y="13525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0" name="Freeform: Shape 78">
                <a:extLst>
                  <a:ext uri="{FF2B5EF4-FFF2-40B4-BE49-F238E27FC236}">
                    <a16:creationId xmlns:a16="http://schemas.microsoft.com/office/drawing/2014/main" id="{4625AB26-5A5E-AC71-2A4F-713BB5E97DBE}"/>
                  </a:ext>
                </a:extLst>
              </p:cNvPr>
              <p:cNvSpPr/>
              <p:nvPr/>
            </p:nvSpPr>
            <p:spPr>
              <a:xfrm>
                <a:off x="6543896" y="3715148"/>
                <a:ext cx="112395" cy="135255"/>
              </a:xfrm>
              <a:custGeom>
                <a:avLst/>
                <a:gdLst>
                  <a:gd name="connsiteX0" fmla="*/ 32385 w 112395"/>
                  <a:gd name="connsiteY0" fmla="*/ 92393 h 135255"/>
                  <a:gd name="connsiteX1" fmla="*/ 18097 w 112395"/>
                  <a:gd name="connsiteY1" fmla="*/ 135255 h 135255"/>
                  <a:gd name="connsiteX2" fmla="*/ 0 w 112395"/>
                  <a:gd name="connsiteY2" fmla="*/ 135255 h 135255"/>
                  <a:gd name="connsiteX3" fmla="*/ 45720 w 112395"/>
                  <a:gd name="connsiteY3" fmla="*/ 0 h 135255"/>
                  <a:gd name="connsiteX4" fmla="*/ 66675 w 112395"/>
                  <a:gd name="connsiteY4" fmla="*/ 0 h 135255"/>
                  <a:gd name="connsiteX5" fmla="*/ 112395 w 112395"/>
                  <a:gd name="connsiteY5" fmla="*/ 135255 h 135255"/>
                  <a:gd name="connsiteX6" fmla="*/ 93345 w 112395"/>
                  <a:gd name="connsiteY6" fmla="*/ 135255 h 135255"/>
                  <a:gd name="connsiteX7" fmla="*/ 79058 w 112395"/>
                  <a:gd name="connsiteY7" fmla="*/ 92393 h 135255"/>
                  <a:gd name="connsiteX8" fmla="*/ 32385 w 112395"/>
                  <a:gd name="connsiteY8" fmla="*/ 92393 h 135255"/>
                  <a:gd name="connsiteX9" fmla="*/ 77153 w 112395"/>
                  <a:gd name="connsiteY9" fmla="*/ 79057 h 135255"/>
                  <a:gd name="connsiteX10" fmla="*/ 63817 w 112395"/>
                  <a:gd name="connsiteY10" fmla="*/ 40005 h 135255"/>
                  <a:gd name="connsiteX11" fmla="*/ 57150 w 112395"/>
                  <a:gd name="connsiteY11" fmla="*/ 15240 h 135255"/>
                  <a:gd name="connsiteX12" fmla="*/ 57150 w 112395"/>
                  <a:gd name="connsiteY12" fmla="*/ 15240 h 135255"/>
                  <a:gd name="connsiteX13" fmla="*/ 50483 w 112395"/>
                  <a:gd name="connsiteY13" fmla="*/ 40005 h 135255"/>
                  <a:gd name="connsiteX14" fmla="*/ 37147 w 112395"/>
                  <a:gd name="connsiteY14" fmla="*/ 79057 h 135255"/>
                  <a:gd name="connsiteX15" fmla="*/ 77153 w 112395"/>
                  <a:gd name="connsiteY15" fmla="*/ 79057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395" h="135255">
                    <a:moveTo>
                      <a:pt x="32385" y="92393"/>
                    </a:moveTo>
                    <a:lnTo>
                      <a:pt x="18097" y="135255"/>
                    </a:lnTo>
                    <a:lnTo>
                      <a:pt x="0" y="135255"/>
                    </a:lnTo>
                    <a:lnTo>
                      <a:pt x="45720" y="0"/>
                    </a:lnTo>
                    <a:lnTo>
                      <a:pt x="66675" y="0"/>
                    </a:lnTo>
                    <a:lnTo>
                      <a:pt x="112395" y="135255"/>
                    </a:lnTo>
                    <a:lnTo>
                      <a:pt x="93345" y="135255"/>
                    </a:lnTo>
                    <a:lnTo>
                      <a:pt x="79058" y="92393"/>
                    </a:lnTo>
                    <a:lnTo>
                      <a:pt x="32385" y="92393"/>
                    </a:lnTo>
                    <a:close/>
                    <a:moveTo>
                      <a:pt x="77153" y="79057"/>
                    </a:moveTo>
                    <a:lnTo>
                      <a:pt x="63817" y="40005"/>
                    </a:lnTo>
                    <a:cubicBezTo>
                      <a:pt x="60960" y="31432"/>
                      <a:pt x="59055" y="22860"/>
                      <a:pt x="57150" y="15240"/>
                    </a:cubicBezTo>
                    <a:lnTo>
                      <a:pt x="57150" y="15240"/>
                    </a:lnTo>
                    <a:cubicBezTo>
                      <a:pt x="55245" y="22860"/>
                      <a:pt x="53340" y="31432"/>
                      <a:pt x="50483" y="40005"/>
                    </a:cubicBezTo>
                    <a:lnTo>
                      <a:pt x="37147" y="79057"/>
                    </a:lnTo>
                    <a:lnTo>
                      <a:pt x="77153" y="79057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1" name="Freeform: Shape 79">
                <a:extLst>
                  <a:ext uri="{FF2B5EF4-FFF2-40B4-BE49-F238E27FC236}">
                    <a16:creationId xmlns:a16="http://schemas.microsoft.com/office/drawing/2014/main" id="{2B4D2EB9-EBF9-D2D0-4442-368AC1FEBCCD}"/>
                  </a:ext>
                </a:extLst>
              </p:cNvPr>
              <p:cNvSpPr/>
              <p:nvPr/>
            </p:nvSpPr>
            <p:spPr>
              <a:xfrm>
                <a:off x="6673436" y="3715148"/>
                <a:ext cx="100012" cy="135255"/>
              </a:xfrm>
              <a:custGeom>
                <a:avLst/>
                <a:gdLst>
                  <a:gd name="connsiteX0" fmla="*/ 40957 w 100012"/>
                  <a:gd name="connsiteY0" fmla="*/ 15240 h 135255"/>
                  <a:gd name="connsiteX1" fmla="*/ 0 w 100012"/>
                  <a:gd name="connsiteY1" fmla="*/ 15240 h 135255"/>
                  <a:gd name="connsiteX2" fmla="*/ 0 w 100012"/>
                  <a:gd name="connsiteY2" fmla="*/ 0 h 135255"/>
                  <a:gd name="connsiteX3" fmla="*/ 100013 w 100012"/>
                  <a:gd name="connsiteY3" fmla="*/ 0 h 135255"/>
                  <a:gd name="connsiteX4" fmla="*/ 100013 w 100012"/>
                  <a:gd name="connsiteY4" fmla="*/ 15240 h 135255"/>
                  <a:gd name="connsiteX5" fmla="*/ 59055 w 100012"/>
                  <a:gd name="connsiteY5" fmla="*/ 15240 h 135255"/>
                  <a:gd name="connsiteX6" fmla="*/ 59055 w 100012"/>
                  <a:gd name="connsiteY6" fmla="*/ 135255 h 135255"/>
                  <a:gd name="connsiteX7" fmla="*/ 41910 w 100012"/>
                  <a:gd name="connsiteY7" fmla="*/ 135255 h 135255"/>
                  <a:gd name="connsiteX8" fmla="*/ 41910 w 100012"/>
                  <a:gd name="connsiteY8" fmla="*/ 1524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12" h="135255">
                    <a:moveTo>
                      <a:pt x="40957" y="15240"/>
                    </a:moveTo>
                    <a:lnTo>
                      <a:pt x="0" y="15240"/>
                    </a:lnTo>
                    <a:lnTo>
                      <a:pt x="0" y="0"/>
                    </a:lnTo>
                    <a:lnTo>
                      <a:pt x="100013" y="0"/>
                    </a:lnTo>
                    <a:lnTo>
                      <a:pt x="100013" y="15240"/>
                    </a:lnTo>
                    <a:lnTo>
                      <a:pt x="59055" y="15240"/>
                    </a:lnTo>
                    <a:lnTo>
                      <a:pt x="59055" y="135255"/>
                    </a:lnTo>
                    <a:lnTo>
                      <a:pt x="41910" y="135255"/>
                    </a:lnTo>
                    <a:lnTo>
                      <a:pt x="41910" y="1524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2" name="Freeform: Shape 80">
                <a:extLst>
                  <a:ext uri="{FF2B5EF4-FFF2-40B4-BE49-F238E27FC236}">
                    <a16:creationId xmlns:a16="http://schemas.microsoft.com/office/drawing/2014/main" id="{4B7EF96C-88B0-3238-CA4E-93442B0B6804}"/>
                  </a:ext>
                </a:extLst>
              </p:cNvPr>
              <p:cNvSpPr/>
              <p:nvPr/>
            </p:nvSpPr>
            <p:spPr>
              <a:xfrm>
                <a:off x="6816311" y="3715148"/>
                <a:ext cx="17144" cy="135255"/>
              </a:xfrm>
              <a:custGeom>
                <a:avLst/>
                <a:gdLst>
                  <a:gd name="connsiteX0" fmla="*/ 17145 w 17144"/>
                  <a:gd name="connsiteY0" fmla="*/ 0 h 135255"/>
                  <a:gd name="connsiteX1" fmla="*/ 17145 w 17144"/>
                  <a:gd name="connsiteY1" fmla="*/ 135255 h 135255"/>
                  <a:gd name="connsiteX2" fmla="*/ 0 w 17144"/>
                  <a:gd name="connsiteY2" fmla="*/ 135255 h 135255"/>
                  <a:gd name="connsiteX3" fmla="*/ 0 w 17144"/>
                  <a:gd name="connsiteY3" fmla="*/ 0 h 135255"/>
                  <a:gd name="connsiteX4" fmla="*/ 17145 w 17144"/>
                  <a:gd name="connsiteY4" fmla="*/ 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4" h="135255">
                    <a:moveTo>
                      <a:pt x="17145" y="0"/>
                    </a:moveTo>
                    <a:lnTo>
                      <a:pt x="17145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3" name="Freeform: Shape 81">
                <a:extLst>
                  <a:ext uri="{FF2B5EF4-FFF2-40B4-BE49-F238E27FC236}">
                    <a16:creationId xmlns:a16="http://schemas.microsoft.com/office/drawing/2014/main" id="{86FF8BDD-0D15-9E74-9EB6-0BD22D9C2B94}"/>
                  </a:ext>
                </a:extLst>
              </p:cNvPr>
              <p:cNvSpPr/>
              <p:nvPr/>
            </p:nvSpPr>
            <p:spPr>
              <a:xfrm>
                <a:off x="6882986" y="3714172"/>
                <a:ext cx="123825" cy="139088"/>
              </a:xfrm>
              <a:custGeom>
                <a:avLst/>
                <a:gdLst>
                  <a:gd name="connsiteX0" fmla="*/ 123825 w 123825"/>
                  <a:gd name="connsiteY0" fmla="*/ 67651 h 139088"/>
                  <a:gd name="connsiteX1" fmla="*/ 60960 w 123825"/>
                  <a:gd name="connsiteY1" fmla="*/ 139089 h 139088"/>
                  <a:gd name="connsiteX2" fmla="*/ 0 w 123825"/>
                  <a:gd name="connsiteY2" fmla="*/ 70509 h 139088"/>
                  <a:gd name="connsiteX3" fmla="*/ 62865 w 123825"/>
                  <a:gd name="connsiteY3" fmla="*/ 24 h 139088"/>
                  <a:gd name="connsiteX4" fmla="*/ 123825 w 123825"/>
                  <a:gd name="connsiteY4" fmla="*/ 67651 h 139088"/>
                  <a:gd name="connsiteX5" fmla="*/ 19050 w 123825"/>
                  <a:gd name="connsiteY5" fmla="*/ 69556 h 139088"/>
                  <a:gd name="connsiteX6" fmla="*/ 61913 w 123825"/>
                  <a:gd name="connsiteY6" fmla="*/ 124801 h 139088"/>
                  <a:gd name="connsiteX7" fmla="*/ 104775 w 123825"/>
                  <a:gd name="connsiteY7" fmla="*/ 68604 h 139088"/>
                  <a:gd name="connsiteX8" fmla="*/ 61913 w 123825"/>
                  <a:gd name="connsiteY8" fmla="*/ 13359 h 139088"/>
                  <a:gd name="connsiteX9" fmla="*/ 19050 w 123825"/>
                  <a:gd name="connsiteY9" fmla="*/ 69556 h 139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3825" h="139088">
                    <a:moveTo>
                      <a:pt x="123825" y="67651"/>
                    </a:moveTo>
                    <a:cubicBezTo>
                      <a:pt x="123825" y="113371"/>
                      <a:pt x="95250" y="139089"/>
                      <a:pt x="60960" y="139089"/>
                    </a:cubicBezTo>
                    <a:cubicBezTo>
                      <a:pt x="24765" y="139089"/>
                      <a:pt x="0" y="111466"/>
                      <a:pt x="0" y="70509"/>
                    </a:cubicBezTo>
                    <a:cubicBezTo>
                      <a:pt x="0" y="27646"/>
                      <a:pt x="26670" y="24"/>
                      <a:pt x="62865" y="24"/>
                    </a:cubicBezTo>
                    <a:cubicBezTo>
                      <a:pt x="100013" y="-929"/>
                      <a:pt x="123825" y="26694"/>
                      <a:pt x="123825" y="67651"/>
                    </a:cubicBezTo>
                    <a:close/>
                    <a:moveTo>
                      <a:pt x="19050" y="69556"/>
                    </a:moveTo>
                    <a:cubicBezTo>
                      <a:pt x="19050" y="98131"/>
                      <a:pt x="34290" y="124801"/>
                      <a:pt x="61913" y="124801"/>
                    </a:cubicBezTo>
                    <a:cubicBezTo>
                      <a:pt x="89535" y="124801"/>
                      <a:pt x="104775" y="99084"/>
                      <a:pt x="104775" y="68604"/>
                    </a:cubicBezTo>
                    <a:cubicBezTo>
                      <a:pt x="104775" y="41934"/>
                      <a:pt x="90488" y="13359"/>
                      <a:pt x="61913" y="13359"/>
                    </a:cubicBezTo>
                    <a:cubicBezTo>
                      <a:pt x="33338" y="13359"/>
                      <a:pt x="19050" y="40029"/>
                      <a:pt x="19050" y="69556"/>
                    </a:cubicBez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4" name="Freeform: Shape 82">
                <a:extLst>
                  <a:ext uri="{FF2B5EF4-FFF2-40B4-BE49-F238E27FC236}">
                    <a16:creationId xmlns:a16="http://schemas.microsoft.com/office/drawing/2014/main" id="{071552A9-CCE1-5400-907F-3B42673BCED2}"/>
                  </a:ext>
                </a:extLst>
              </p:cNvPr>
              <p:cNvSpPr/>
              <p:nvPr/>
            </p:nvSpPr>
            <p:spPr>
              <a:xfrm>
                <a:off x="7057293" y="3715148"/>
                <a:ext cx="100965" cy="136207"/>
              </a:xfrm>
              <a:custGeom>
                <a:avLst/>
                <a:gdLst>
                  <a:gd name="connsiteX0" fmla="*/ 0 w 100965"/>
                  <a:gd name="connsiteY0" fmla="*/ 135255 h 136207"/>
                  <a:gd name="connsiteX1" fmla="*/ 0 w 100965"/>
                  <a:gd name="connsiteY1" fmla="*/ 0 h 136207"/>
                  <a:gd name="connsiteX2" fmla="*/ 19050 w 100965"/>
                  <a:gd name="connsiteY2" fmla="*/ 0 h 136207"/>
                  <a:gd name="connsiteX3" fmla="*/ 61913 w 100965"/>
                  <a:gd name="connsiteY3" fmla="*/ 68580 h 136207"/>
                  <a:gd name="connsiteX4" fmla="*/ 85725 w 100965"/>
                  <a:gd name="connsiteY4" fmla="*/ 112395 h 136207"/>
                  <a:gd name="connsiteX5" fmla="*/ 86678 w 100965"/>
                  <a:gd name="connsiteY5" fmla="*/ 112395 h 136207"/>
                  <a:gd name="connsiteX6" fmla="*/ 84772 w 100965"/>
                  <a:gd name="connsiteY6" fmla="*/ 57150 h 136207"/>
                  <a:gd name="connsiteX7" fmla="*/ 84772 w 100965"/>
                  <a:gd name="connsiteY7" fmla="*/ 952 h 136207"/>
                  <a:gd name="connsiteX8" fmla="*/ 100965 w 100965"/>
                  <a:gd name="connsiteY8" fmla="*/ 952 h 136207"/>
                  <a:gd name="connsiteX9" fmla="*/ 100965 w 100965"/>
                  <a:gd name="connsiteY9" fmla="*/ 136207 h 136207"/>
                  <a:gd name="connsiteX10" fmla="*/ 83820 w 100965"/>
                  <a:gd name="connsiteY10" fmla="*/ 136207 h 136207"/>
                  <a:gd name="connsiteX11" fmla="*/ 40958 w 100965"/>
                  <a:gd name="connsiteY11" fmla="*/ 67627 h 136207"/>
                  <a:gd name="connsiteX12" fmla="*/ 16193 w 100965"/>
                  <a:gd name="connsiteY12" fmla="*/ 22860 h 136207"/>
                  <a:gd name="connsiteX13" fmla="*/ 15240 w 100965"/>
                  <a:gd name="connsiteY13" fmla="*/ 22860 h 136207"/>
                  <a:gd name="connsiteX14" fmla="*/ 16193 w 100965"/>
                  <a:gd name="connsiteY14" fmla="*/ 78105 h 136207"/>
                  <a:gd name="connsiteX15" fmla="*/ 16193 w 100965"/>
                  <a:gd name="connsiteY15" fmla="*/ 135255 h 136207"/>
                  <a:gd name="connsiteX16" fmla="*/ 0 w 100965"/>
                  <a:gd name="connsiteY16" fmla="*/ 135255 h 136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0965" h="136207">
                    <a:moveTo>
                      <a:pt x="0" y="135255"/>
                    </a:moveTo>
                    <a:lnTo>
                      <a:pt x="0" y="0"/>
                    </a:lnTo>
                    <a:lnTo>
                      <a:pt x="19050" y="0"/>
                    </a:lnTo>
                    <a:lnTo>
                      <a:pt x="61913" y="68580"/>
                    </a:lnTo>
                    <a:cubicBezTo>
                      <a:pt x="71438" y="84773"/>
                      <a:pt x="80010" y="98107"/>
                      <a:pt x="85725" y="112395"/>
                    </a:cubicBezTo>
                    <a:lnTo>
                      <a:pt x="86678" y="112395"/>
                    </a:lnTo>
                    <a:cubicBezTo>
                      <a:pt x="84772" y="94298"/>
                      <a:pt x="84772" y="78105"/>
                      <a:pt x="84772" y="57150"/>
                    </a:cubicBezTo>
                    <a:lnTo>
                      <a:pt x="84772" y="952"/>
                    </a:lnTo>
                    <a:lnTo>
                      <a:pt x="100965" y="952"/>
                    </a:lnTo>
                    <a:lnTo>
                      <a:pt x="100965" y="136207"/>
                    </a:lnTo>
                    <a:lnTo>
                      <a:pt x="83820" y="136207"/>
                    </a:lnTo>
                    <a:lnTo>
                      <a:pt x="40958" y="67627"/>
                    </a:lnTo>
                    <a:cubicBezTo>
                      <a:pt x="31433" y="52388"/>
                      <a:pt x="22860" y="37148"/>
                      <a:pt x="16193" y="22860"/>
                    </a:cubicBezTo>
                    <a:lnTo>
                      <a:pt x="15240" y="22860"/>
                    </a:lnTo>
                    <a:cubicBezTo>
                      <a:pt x="16193" y="40005"/>
                      <a:pt x="16193" y="56198"/>
                      <a:pt x="16193" y="78105"/>
                    </a:cubicBezTo>
                    <a:lnTo>
                      <a:pt x="16193" y="135255"/>
                    </a:lnTo>
                    <a:lnTo>
                      <a:pt x="0" y="13525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5" name="Freeform: Shape 83">
                <a:extLst>
                  <a:ext uri="{FF2B5EF4-FFF2-40B4-BE49-F238E27FC236}">
                    <a16:creationId xmlns:a16="http://schemas.microsoft.com/office/drawing/2014/main" id="{AE06BA1D-13C1-1BE8-FAE0-1C3E044EECD7}"/>
                  </a:ext>
                </a:extLst>
              </p:cNvPr>
              <p:cNvSpPr/>
              <p:nvPr/>
            </p:nvSpPr>
            <p:spPr>
              <a:xfrm>
                <a:off x="7205884" y="3715148"/>
                <a:ext cx="112394" cy="135255"/>
              </a:xfrm>
              <a:custGeom>
                <a:avLst/>
                <a:gdLst>
                  <a:gd name="connsiteX0" fmla="*/ 32385 w 112394"/>
                  <a:gd name="connsiteY0" fmla="*/ 92393 h 135255"/>
                  <a:gd name="connsiteX1" fmla="*/ 18097 w 112394"/>
                  <a:gd name="connsiteY1" fmla="*/ 135255 h 135255"/>
                  <a:gd name="connsiteX2" fmla="*/ 0 w 112394"/>
                  <a:gd name="connsiteY2" fmla="*/ 135255 h 135255"/>
                  <a:gd name="connsiteX3" fmla="*/ 45720 w 112394"/>
                  <a:gd name="connsiteY3" fmla="*/ 0 h 135255"/>
                  <a:gd name="connsiteX4" fmla="*/ 66675 w 112394"/>
                  <a:gd name="connsiteY4" fmla="*/ 0 h 135255"/>
                  <a:gd name="connsiteX5" fmla="*/ 112395 w 112394"/>
                  <a:gd name="connsiteY5" fmla="*/ 135255 h 135255"/>
                  <a:gd name="connsiteX6" fmla="*/ 93345 w 112394"/>
                  <a:gd name="connsiteY6" fmla="*/ 135255 h 135255"/>
                  <a:gd name="connsiteX7" fmla="*/ 79057 w 112394"/>
                  <a:gd name="connsiteY7" fmla="*/ 92393 h 135255"/>
                  <a:gd name="connsiteX8" fmla="*/ 32385 w 112394"/>
                  <a:gd name="connsiteY8" fmla="*/ 92393 h 135255"/>
                  <a:gd name="connsiteX9" fmla="*/ 76200 w 112394"/>
                  <a:gd name="connsiteY9" fmla="*/ 79057 h 135255"/>
                  <a:gd name="connsiteX10" fmla="*/ 62865 w 112394"/>
                  <a:gd name="connsiteY10" fmla="*/ 40005 h 135255"/>
                  <a:gd name="connsiteX11" fmla="*/ 56197 w 112394"/>
                  <a:gd name="connsiteY11" fmla="*/ 15240 h 135255"/>
                  <a:gd name="connsiteX12" fmla="*/ 56197 w 112394"/>
                  <a:gd name="connsiteY12" fmla="*/ 15240 h 135255"/>
                  <a:gd name="connsiteX13" fmla="*/ 49530 w 112394"/>
                  <a:gd name="connsiteY13" fmla="*/ 40005 h 135255"/>
                  <a:gd name="connsiteX14" fmla="*/ 36195 w 112394"/>
                  <a:gd name="connsiteY14" fmla="*/ 79057 h 135255"/>
                  <a:gd name="connsiteX15" fmla="*/ 76200 w 112394"/>
                  <a:gd name="connsiteY15" fmla="*/ 79057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394" h="135255">
                    <a:moveTo>
                      <a:pt x="32385" y="92393"/>
                    </a:moveTo>
                    <a:lnTo>
                      <a:pt x="18097" y="135255"/>
                    </a:lnTo>
                    <a:lnTo>
                      <a:pt x="0" y="135255"/>
                    </a:lnTo>
                    <a:lnTo>
                      <a:pt x="45720" y="0"/>
                    </a:lnTo>
                    <a:lnTo>
                      <a:pt x="66675" y="0"/>
                    </a:lnTo>
                    <a:lnTo>
                      <a:pt x="112395" y="135255"/>
                    </a:lnTo>
                    <a:lnTo>
                      <a:pt x="93345" y="135255"/>
                    </a:lnTo>
                    <a:lnTo>
                      <a:pt x="79057" y="92393"/>
                    </a:lnTo>
                    <a:lnTo>
                      <a:pt x="32385" y="92393"/>
                    </a:lnTo>
                    <a:close/>
                    <a:moveTo>
                      <a:pt x="76200" y="79057"/>
                    </a:moveTo>
                    <a:lnTo>
                      <a:pt x="62865" y="40005"/>
                    </a:lnTo>
                    <a:cubicBezTo>
                      <a:pt x="60007" y="31432"/>
                      <a:pt x="58103" y="22860"/>
                      <a:pt x="56197" y="15240"/>
                    </a:cubicBezTo>
                    <a:lnTo>
                      <a:pt x="56197" y="15240"/>
                    </a:lnTo>
                    <a:cubicBezTo>
                      <a:pt x="54293" y="22860"/>
                      <a:pt x="52388" y="31432"/>
                      <a:pt x="49530" y="40005"/>
                    </a:cubicBezTo>
                    <a:lnTo>
                      <a:pt x="36195" y="79057"/>
                    </a:lnTo>
                    <a:lnTo>
                      <a:pt x="76200" y="79057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6" name="Freeform: Shape 84">
                <a:extLst>
                  <a:ext uri="{FF2B5EF4-FFF2-40B4-BE49-F238E27FC236}">
                    <a16:creationId xmlns:a16="http://schemas.microsoft.com/office/drawing/2014/main" id="{E5617458-7103-1042-1529-8278839FEF80}"/>
                  </a:ext>
                </a:extLst>
              </p:cNvPr>
              <p:cNvSpPr/>
              <p:nvPr/>
            </p:nvSpPr>
            <p:spPr>
              <a:xfrm>
                <a:off x="7364951" y="3715148"/>
                <a:ext cx="75247" cy="134302"/>
              </a:xfrm>
              <a:custGeom>
                <a:avLst/>
                <a:gdLst>
                  <a:gd name="connsiteX0" fmla="*/ 952 w 75247"/>
                  <a:gd name="connsiteY0" fmla="*/ 0 h 134302"/>
                  <a:gd name="connsiteX1" fmla="*/ 18097 w 75247"/>
                  <a:gd name="connsiteY1" fmla="*/ 0 h 134302"/>
                  <a:gd name="connsiteX2" fmla="*/ 18097 w 75247"/>
                  <a:gd name="connsiteY2" fmla="*/ 120015 h 134302"/>
                  <a:gd name="connsiteX3" fmla="*/ 75247 w 75247"/>
                  <a:gd name="connsiteY3" fmla="*/ 120015 h 134302"/>
                  <a:gd name="connsiteX4" fmla="*/ 75247 w 75247"/>
                  <a:gd name="connsiteY4" fmla="*/ 134302 h 134302"/>
                  <a:gd name="connsiteX5" fmla="*/ 0 w 75247"/>
                  <a:gd name="connsiteY5" fmla="*/ 134302 h 134302"/>
                  <a:gd name="connsiteX6" fmla="*/ 0 w 75247"/>
                  <a:gd name="connsiteY6" fmla="*/ 0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247" h="134302">
                    <a:moveTo>
                      <a:pt x="952" y="0"/>
                    </a:moveTo>
                    <a:lnTo>
                      <a:pt x="18097" y="0"/>
                    </a:lnTo>
                    <a:lnTo>
                      <a:pt x="18097" y="120015"/>
                    </a:lnTo>
                    <a:lnTo>
                      <a:pt x="75247" y="120015"/>
                    </a:lnTo>
                    <a:lnTo>
                      <a:pt x="75247" y="134302"/>
                    </a:lnTo>
                    <a:lnTo>
                      <a:pt x="0" y="13430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7" name="Freeform: Shape 85">
                <a:extLst>
                  <a:ext uri="{FF2B5EF4-FFF2-40B4-BE49-F238E27FC236}">
                    <a16:creationId xmlns:a16="http://schemas.microsoft.com/office/drawing/2014/main" id="{31C0961A-1553-51E5-6EA5-9074CEB31770}"/>
                  </a:ext>
                </a:extLst>
              </p:cNvPr>
              <p:cNvSpPr/>
              <p:nvPr/>
            </p:nvSpPr>
            <p:spPr>
              <a:xfrm>
                <a:off x="7550689" y="3713244"/>
                <a:ext cx="102869" cy="139064"/>
              </a:xfrm>
              <a:custGeom>
                <a:avLst/>
                <a:gdLst>
                  <a:gd name="connsiteX0" fmla="*/ 101917 w 102869"/>
                  <a:gd name="connsiteY0" fmla="*/ 132398 h 139064"/>
                  <a:gd name="connsiteX1" fmla="*/ 66675 w 102869"/>
                  <a:gd name="connsiteY1" fmla="*/ 139065 h 139064"/>
                  <a:gd name="connsiteX2" fmla="*/ 0 w 102869"/>
                  <a:gd name="connsiteY2" fmla="*/ 70485 h 139064"/>
                  <a:gd name="connsiteX3" fmla="*/ 70485 w 102869"/>
                  <a:gd name="connsiteY3" fmla="*/ 0 h 139064"/>
                  <a:gd name="connsiteX4" fmla="*/ 102870 w 102869"/>
                  <a:gd name="connsiteY4" fmla="*/ 5715 h 139064"/>
                  <a:gd name="connsiteX5" fmla="*/ 98107 w 102869"/>
                  <a:gd name="connsiteY5" fmla="*/ 20002 h 139064"/>
                  <a:gd name="connsiteX6" fmla="*/ 71438 w 102869"/>
                  <a:gd name="connsiteY6" fmla="*/ 14288 h 139064"/>
                  <a:gd name="connsiteX7" fmla="*/ 19050 w 102869"/>
                  <a:gd name="connsiteY7" fmla="*/ 69532 h 139064"/>
                  <a:gd name="connsiteX8" fmla="*/ 70485 w 102869"/>
                  <a:gd name="connsiteY8" fmla="*/ 123825 h 139064"/>
                  <a:gd name="connsiteX9" fmla="*/ 99060 w 102869"/>
                  <a:gd name="connsiteY9" fmla="*/ 118110 h 139064"/>
                  <a:gd name="connsiteX10" fmla="*/ 101917 w 102869"/>
                  <a:gd name="connsiteY10" fmla="*/ 132398 h 139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2869" h="139064">
                    <a:moveTo>
                      <a:pt x="101917" y="132398"/>
                    </a:moveTo>
                    <a:cubicBezTo>
                      <a:pt x="95250" y="135255"/>
                      <a:pt x="82867" y="139065"/>
                      <a:pt x="66675" y="139065"/>
                    </a:cubicBezTo>
                    <a:cubicBezTo>
                      <a:pt x="28575" y="139065"/>
                      <a:pt x="0" y="115252"/>
                      <a:pt x="0" y="70485"/>
                    </a:cubicBezTo>
                    <a:cubicBezTo>
                      <a:pt x="0" y="27623"/>
                      <a:pt x="28575" y="0"/>
                      <a:pt x="70485" y="0"/>
                    </a:cubicBezTo>
                    <a:cubicBezTo>
                      <a:pt x="86677" y="0"/>
                      <a:pt x="98107" y="3810"/>
                      <a:pt x="102870" y="5715"/>
                    </a:cubicBezTo>
                    <a:lnTo>
                      <a:pt x="98107" y="20002"/>
                    </a:lnTo>
                    <a:cubicBezTo>
                      <a:pt x="91440" y="17145"/>
                      <a:pt x="81915" y="14288"/>
                      <a:pt x="71438" y="14288"/>
                    </a:cubicBezTo>
                    <a:cubicBezTo>
                      <a:pt x="40005" y="14288"/>
                      <a:pt x="19050" y="34290"/>
                      <a:pt x="19050" y="69532"/>
                    </a:cubicBezTo>
                    <a:cubicBezTo>
                      <a:pt x="19050" y="102870"/>
                      <a:pt x="38100" y="123825"/>
                      <a:pt x="70485" y="123825"/>
                    </a:cubicBezTo>
                    <a:cubicBezTo>
                      <a:pt x="80963" y="123825"/>
                      <a:pt x="92392" y="121920"/>
                      <a:pt x="99060" y="118110"/>
                    </a:cubicBezTo>
                    <a:lnTo>
                      <a:pt x="101917" y="132398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8" name="Freeform: Shape 86">
                <a:extLst>
                  <a:ext uri="{FF2B5EF4-FFF2-40B4-BE49-F238E27FC236}">
                    <a16:creationId xmlns:a16="http://schemas.microsoft.com/office/drawing/2014/main" id="{A95DAD19-BDBD-88E9-B9AB-BAA601BD0C2A}"/>
                  </a:ext>
                </a:extLst>
              </p:cNvPr>
              <p:cNvSpPr/>
              <p:nvPr/>
            </p:nvSpPr>
            <p:spPr>
              <a:xfrm>
                <a:off x="7701184" y="3715148"/>
                <a:ext cx="100012" cy="135255"/>
              </a:xfrm>
              <a:custGeom>
                <a:avLst/>
                <a:gdLst>
                  <a:gd name="connsiteX0" fmla="*/ 18097 w 100012"/>
                  <a:gd name="connsiteY0" fmla="*/ 0 h 135255"/>
                  <a:gd name="connsiteX1" fmla="*/ 18097 w 100012"/>
                  <a:gd name="connsiteY1" fmla="*/ 56198 h 135255"/>
                  <a:gd name="connsiteX2" fmla="*/ 82868 w 100012"/>
                  <a:gd name="connsiteY2" fmla="*/ 56198 h 135255"/>
                  <a:gd name="connsiteX3" fmla="*/ 82868 w 100012"/>
                  <a:gd name="connsiteY3" fmla="*/ 0 h 135255"/>
                  <a:gd name="connsiteX4" fmla="*/ 100013 w 100012"/>
                  <a:gd name="connsiteY4" fmla="*/ 0 h 135255"/>
                  <a:gd name="connsiteX5" fmla="*/ 100013 w 100012"/>
                  <a:gd name="connsiteY5" fmla="*/ 135255 h 135255"/>
                  <a:gd name="connsiteX6" fmla="*/ 82868 w 100012"/>
                  <a:gd name="connsiteY6" fmla="*/ 135255 h 135255"/>
                  <a:gd name="connsiteX7" fmla="*/ 82868 w 100012"/>
                  <a:gd name="connsiteY7" fmla="*/ 72390 h 135255"/>
                  <a:gd name="connsiteX8" fmla="*/ 18097 w 100012"/>
                  <a:gd name="connsiteY8" fmla="*/ 72390 h 135255"/>
                  <a:gd name="connsiteX9" fmla="*/ 18097 w 100012"/>
                  <a:gd name="connsiteY9" fmla="*/ 135255 h 135255"/>
                  <a:gd name="connsiteX10" fmla="*/ 0 w 100012"/>
                  <a:gd name="connsiteY10" fmla="*/ 135255 h 135255"/>
                  <a:gd name="connsiteX11" fmla="*/ 0 w 100012"/>
                  <a:gd name="connsiteY11" fmla="*/ 0 h 135255"/>
                  <a:gd name="connsiteX12" fmla="*/ 18097 w 100012"/>
                  <a:gd name="connsiteY12" fmla="*/ 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0012" h="135255">
                    <a:moveTo>
                      <a:pt x="18097" y="0"/>
                    </a:moveTo>
                    <a:lnTo>
                      <a:pt x="18097" y="56198"/>
                    </a:lnTo>
                    <a:lnTo>
                      <a:pt x="82868" y="56198"/>
                    </a:lnTo>
                    <a:lnTo>
                      <a:pt x="82868" y="0"/>
                    </a:lnTo>
                    <a:lnTo>
                      <a:pt x="100013" y="0"/>
                    </a:lnTo>
                    <a:lnTo>
                      <a:pt x="100013" y="135255"/>
                    </a:lnTo>
                    <a:lnTo>
                      <a:pt x="82868" y="135255"/>
                    </a:lnTo>
                    <a:lnTo>
                      <a:pt x="82868" y="72390"/>
                    </a:lnTo>
                    <a:lnTo>
                      <a:pt x="18097" y="72390"/>
                    </a:lnTo>
                    <a:lnTo>
                      <a:pt x="18097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18097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9" name="Freeform: Shape 87">
                <a:extLst>
                  <a:ext uri="{FF2B5EF4-FFF2-40B4-BE49-F238E27FC236}">
                    <a16:creationId xmlns:a16="http://schemas.microsoft.com/office/drawing/2014/main" id="{CDF04733-7025-F589-90C2-D6251B40291D}"/>
                  </a:ext>
                </a:extLst>
              </p:cNvPr>
              <p:cNvSpPr/>
              <p:nvPr/>
            </p:nvSpPr>
            <p:spPr>
              <a:xfrm>
                <a:off x="7859299" y="3714196"/>
                <a:ext cx="76200" cy="135254"/>
              </a:xfrm>
              <a:custGeom>
                <a:avLst/>
                <a:gdLst>
                  <a:gd name="connsiteX0" fmla="*/ 70485 w 76200"/>
                  <a:gd name="connsiteY0" fmla="*/ 72390 h 135254"/>
                  <a:gd name="connsiteX1" fmla="*/ 18097 w 76200"/>
                  <a:gd name="connsiteY1" fmla="*/ 72390 h 135254"/>
                  <a:gd name="connsiteX2" fmla="*/ 18097 w 76200"/>
                  <a:gd name="connsiteY2" fmla="*/ 120967 h 135254"/>
                  <a:gd name="connsiteX3" fmla="*/ 76200 w 76200"/>
                  <a:gd name="connsiteY3" fmla="*/ 120967 h 135254"/>
                  <a:gd name="connsiteX4" fmla="*/ 76200 w 76200"/>
                  <a:gd name="connsiteY4" fmla="*/ 135255 h 135254"/>
                  <a:gd name="connsiteX5" fmla="*/ 0 w 76200"/>
                  <a:gd name="connsiteY5" fmla="*/ 135255 h 135254"/>
                  <a:gd name="connsiteX6" fmla="*/ 0 w 76200"/>
                  <a:gd name="connsiteY6" fmla="*/ 0 h 135254"/>
                  <a:gd name="connsiteX7" fmla="*/ 73342 w 76200"/>
                  <a:gd name="connsiteY7" fmla="*/ 0 h 135254"/>
                  <a:gd name="connsiteX8" fmla="*/ 73342 w 76200"/>
                  <a:gd name="connsiteY8" fmla="*/ 14288 h 135254"/>
                  <a:gd name="connsiteX9" fmla="*/ 18097 w 76200"/>
                  <a:gd name="connsiteY9" fmla="*/ 14288 h 135254"/>
                  <a:gd name="connsiteX10" fmla="*/ 18097 w 76200"/>
                  <a:gd name="connsiteY10" fmla="*/ 57150 h 135254"/>
                  <a:gd name="connsiteX11" fmla="*/ 70485 w 76200"/>
                  <a:gd name="connsiteY11" fmla="*/ 57150 h 135254"/>
                  <a:gd name="connsiteX12" fmla="*/ 70485 w 76200"/>
                  <a:gd name="connsiteY12" fmla="*/ 72390 h 13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6200" h="135254">
                    <a:moveTo>
                      <a:pt x="70485" y="72390"/>
                    </a:moveTo>
                    <a:lnTo>
                      <a:pt x="18097" y="72390"/>
                    </a:lnTo>
                    <a:lnTo>
                      <a:pt x="18097" y="120967"/>
                    </a:lnTo>
                    <a:lnTo>
                      <a:pt x="76200" y="120967"/>
                    </a:lnTo>
                    <a:lnTo>
                      <a:pt x="76200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73342" y="0"/>
                    </a:lnTo>
                    <a:lnTo>
                      <a:pt x="73342" y="14288"/>
                    </a:lnTo>
                    <a:lnTo>
                      <a:pt x="18097" y="14288"/>
                    </a:lnTo>
                    <a:lnTo>
                      <a:pt x="18097" y="57150"/>
                    </a:lnTo>
                    <a:lnTo>
                      <a:pt x="70485" y="57150"/>
                    </a:lnTo>
                    <a:lnTo>
                      <a:pt x="70485" y="7239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0" name="Freeform: Shape 88">
                <a:extLst>
                  <a:ext uri="{FF2B5EF4-FFF2-40B4-BE49-F238E27FC236}">
                    <a16:creationId xmlns:a16="http://schemas.microsoft.com/office/drawing/2014/main" id="{01500468-D802-4C52-14D7-BF075270F5B1}"/>
                  </a:ext>
                </a:extLst>
              </p:cNvPr>
              <p:cNvSpPr/>
              <p:nvPr/>
            </p:nvSpPr>
            <p:spPr>
              <a:xfrm>
                <a:off x="7983124" y="3717054"/>
                <a:ext cx="136207" cy="135254"/>
              </a:xfrm>
              <a:custGeom>
                <a:avLst/>
                <a:gdLst>
                  <a:gd name="connsiteX0" fmla="*/ 116205 w 136207"/>
                  <a:gd name="connsiteY0" fmla="*/ 74295 h 135254"/>
                  <a:gd name="connsiteX1" fmla="*/ 114300 w 136207"/>
                  <a:gd name="connsiteY1" fmla="*/ 16192 h 135254"/>
                  <a:gd name="connsiteX2" fmla="*/ 114300 w 136207"/>
                  <a:gd name="connsiteY2" fmla="*/ 16192 h 135254"/>
                  <a:gd name="connsiteX3" fmla="*/ 97155 w 136207"/>
                  <a:gd name="connsiteY3" fmla="*/ 67627 h 135254"/>
                  <a:gd name="connsiteX4" fmla="*/ 73342 w 136207"/>
                  <a:gd name="connsiteY4" fmla="*/ 133350 h 135254"/>
                  <a:gd name="connsiteX5" fmla="*/ 60007 w 136207"/>
                  <a:gd name="connsiteY5" fmla="*/ 133350 h 135254"/>
                  <a:gd name="connsiteX6" fmla="*/ 38100 w 136207"/>
                  <a:gd name="connsiteY6" fmla="*/ 69533 h 135254"/>
                  <a:gd name="connsiteX7" fmla="*/ 22860 w 136207"/>
                  <a:gd name="connsiteY7" fmla="*/ 17145 h 135254"/>
                  <a:gd name="connsiteX8" fmla="*/ 22860 w 136207"/>
                  <a:gd name="connsiteY8" fmla="*/ 17145 h 135254"/>
                  <a:gd name="connsiteX9" fmla="*/ 20003 w 136207"/>
                  <a:gd name="connsiteY9" fmla="*/ 77152 h 135254"/>
                  <a:gd name="connsiteX10" fmla="*/ 16192 w 136207"/>
                  <a:gd name="connsiteY10" fmla="*/ 135255 h 135254"/>
                  <a:gd name="connsiteX11" fmla="*/ 0 w 136207"/>
                  <a:gd name="connsiteY11" fmla="*/ 135255 h 135254"/>
                  <a:gd name="connsiteX12" fmla="*/ 9525 w 136207"/>
                  <a:gd name="connsiteY12" fmla="*/ 0 h 135254"/>
                  <a:gd name="connsiteX13" fmla="*/ 31432 w 136207"/>
                  <a:gd name="connsiteY13" fmla="*/ 0 h 135254"/>
                  <a:gd name="connsiteX14" fmla="*/ 54292 w 136207"/>
                  <a:gd name="connsiteY14" fmla="*/ 64770 h 135254"/>
                  <a:gd name="connsiteX15" fmla="*/ 67628 w 136207"/>
                  <a:gd name="connsiteY15" fmla="*/ 110490 h 135254"/>
                  <a:gd name="connsiteX16" fmla="*/ 67628 w 136207"/>
                  <a:gd name="connsiteY16" fmla="*/ 110490 h 135254"/>
                  <a:gd name="connsiteX17" fmla="*/ 81915 w 136207"/>
                  <a:gd name="connsiteY17" fmla="*/ 64770 h 135254"/>
                  <a:gd name="connsiteX18" fmla="*/ 105728 w 136207"/>
                  <a:gd name="connsiteY18" fmla="*/ 0 h 135254"/>
                  <a:gd name="connsiteX19" fmla="*/ 127635 w 136207"/>
                  <a:gd name="connsiteY19" fmla="*/ 0 h 135254"/>
                  <a:gd name="connsiteX20" fmla="*/ 136207 w 136207"/>
                  <a:gd name="connsiteY20" fmla="*/ 135255 h 135254"/>
                  <a:gd name="connsiteX21" fmla="*/ 119063 w 136207"/>
                  <a:gd name="connsiteY21" fmla="*/ 135255 h 135254"/>
                  <a:gd name="connsiteX22" fmla="*/ 116205 w 136207"/>
                  <a:gd name="connsiteY22" fmla="*/ 74295 h 13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36207" h="135254">
                    <a:moveTo>
                      <a:pt x="116205" y="74295"/>
                    </a:moveTo>
                    <a:cubicBezTo>
                      <a:pt x="115253" y="55245"/>
                      <a:pt x="114300" y="32385"/>
                      <a:pt x="114300" y="16192"/>
                    </a:cubicBezTo>
                    <a:lnTo>
                      <a:pt x="114300" y="16192"/>
                    </a:lnTo>
                    <a:cubicBezTo>
                      <a:pt x="109538" y="31433"/>
                      <a:pt x="103822" y="48577"/>
                      <a:pt x="97155" y="67627"/>
                    </a:cubicBezTo>
                    <a:lnTo>
                      <a:pt x="73342" y="133350"/>
                    </a:lnTo>
                    <a:lnTo>
                      <a:pt x="60007" y="133350"/>
                    </a:lnTo>
                    <a:lnTo>
                      <a:pt x="38100" y="69533"/>
                    </a:lnTo>
                    <a:cubicBezTo>
                      <a:pt x="31432" y="50483"/>
                      <a:pt x="26670" y="33338"/>
                      <a:pt x="22860" y="17145"/>
                    </a:cubicBezTo>
                    <a:lnTo>
                      <a:pt x="22860" y="17145"/>
                    </a:lnTo>
                    <a:cubicBezTo>
                      <a:pt x="22860" y="34290"/>
                      <a:pt x="21907" y="56197"/>
                      <a:pt x="20003" y="77152"/>
                    </a:cubicBezTo>
                    <a:lnTo>
                      <a:pt x="16192" y="135255"/>
                    </a:lnTo>
                    <a:lnTo>
                      <a:pt x="0" y="135255"/>
                    </a:lnTo>
                    <a:lnTo>
                      <a:pt x="9525" y="0"/>
                    </a:lnTo>
                    <a:lnTo>
                      <a:pt x="31432" y="0"/>
                    </a:lnTo>
                    <a:lnTo>
                      <a:pt x="54292" y="64770"/>
                    </a:lnTo>
                    <a:cubicBezTo>
                      <a:pt x="60007" y="80963"/>
                      <a:pt x="64770" y="96202"/>
                      <a:pt x="67628" y="110490"/>
                    </a:cubicBezTo>
                    <a:lnTo>
                      <a:pt x="67628" y="110490"/>
                    </a:lnTo>
                    <a:cubicBezTo>
                      <a:pt x="71438" y="97155"/>
                      <a:pt x="76200" y="81915"/>
                      <a:pt x="81915" y="64770"/>
                    </a:cubicBezTo>
                    <a:lnTo>
                      <a:pt x="105728" y="0"/>
                    </a:lnTo>
                    <a:lnTo>
                      <a:pt x="127635" y="0"/>
                    </a:lnTo>
                    <a:lnTo>
                      <a:pt x="136207" y="135255"/>
                    </a:lnTo>
                    <a:lnTo>
                      <a:pt x="119063" y="135255"/>
                    </a:lnTo>
                    <a:lnTo>
                      <a:pt x="116205" y="7429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1" name="Freeform: Shape 89">
                <a:extLst>
                  <a:ext uri="{FF2B5EF4-FFF2-40B4-BE49-F238E27FC236}">
                    <a16:creationId xmlns:a16="http://schemas.microsoft.com/office/drawing/2014/main" id="{8556FEFD-6367-672C-2759-53F0CFEFE335}"/>
                  </a:ext>
                </a:extLst>
              </p:cNvPr>
              <p:cNvSpPr/>
              <p:nvPr/>
            </p:nvSpPr>
            <p:spPr>
              <a:xfrm>
                <a:off x="8174576" y="3715148"/>
                <a:ext cx="17144" cy="135255"/>
              </a:xfrm>
              <a:custGeom>
                <a:avLst/>
                <a:gdLst>
                  <a:gd name="connsiteX0" fmla="*/ 17145 w 17144"/>
                  <a:gd name="connsiteY0" fmla="*/ 0 h 135255"/>
                  <a:gd name="connsiteX1" fmla="*/ 17145 w 17144"/>
                  <a:gd name="connsiteY1" fmla="*/ 135255 h 135255"/>
                  <a:gd name="connsiteX2" fmla="*/ 0 w 17144"/>
                  <a:gd name="connsiteY2" fmla="*/ 135255 h 135255"/>
                  <a:gd name="connsiteX3" fmla="*/ 0 w 17144"/>
                  <a:gd name="connsiteY3" fmla="*/ 0 h 135255"/>
                  <a:gd name="connsiteX4" fmla="*/ 17145 w 17144"/>
                  <a:gd name="connsiteY4" fmla="*/ 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4" h="135255">
                    <a:moveTo>
                      <a:pt x="17145" y="0"/>
                    </a:moveTo>
                    <a:lnTo>
                      <a:pt x="17145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2" name="Freeform: Shape 90">
                <a:extLst>
                  <a:ext uri="{FF2B5EF4-FFF2-40B4-BE49-F238E27FC236}">
                    <a16:creationId xmlns:a16="http://schemas.microsoft.com/office/drawing/2014/main" id="{75C6F767-D991-EF28-1267-82257B67C4A8}"/>
                  </a:ext>
                </a:extLst>
              </p:cNvPr>
              <p:cNvSpPr/>
              <p:nvPr/>
            </p:nvSpPr>
            <p:spPr>
              <a:xfrm>
                <a:off x="8242203" y="3713244"/>
                <a:ext cx="102870" cy="139064"/>
              </a:xfrm>
              <a:custGeom>
                <a:avLst/>
                <a:gdLst>
                  <a:gd name="connsiteX0" fmla="*/ 101918 w 102870"/>
                  <a:gd name="connsiteY0" fmla="*/ 132398 h 139064"/>
                  <a:gd name="connsiteX1" fmla="*/ 66675 w 102870"/>
                  <a:gd name="connsiteY1" fmla="*/ 139065 h 139064"/>
                  <a:gd name="connsiteX2" fmla="*/ 0 w 102870"/>
                  <a:gd name="connsiteY2" fmla="*/ 70485 h 139064"/>
                  <a:gd name="connsiteX3" fmla="*/ 70485 w 102870"/>
                  <a:gd name="connsiteY3" fmla="*/ 0 h 139064"/>
                  <a:gd name="connsiteX4" fmla="*/ 102870 w 102870"/>
                  <a:gd name="connsiteY4" fmla="*/ 5715 h 139064"/>
                  <a:gd name="connsiteX5" fmla="*/ 98108 w 102870"/>
                  <a:gd name="connsiteY5" fmla="*/ 20002 h 139064"/>
                  <a:gd name="connsiteX6" fmla="*/ 71438 w 102870"/>
                  <a:gd name="connsiteY6" fmla="*/ 14288 h 139064"/>
                  <a:gd name="connsiteX7" fmla="*/ 19050 w 102870"/>
                  <a:gd name="connsiteY7" fmla="*/ 69532 h 139064"/>
                  <a:gd name="connsiteX8" fmla="*/ 70485 w 102870"/>
                  <a:gd name="connsiteY8" fmla="*/ 123825 h 139064"/>
                  <a:gd name="connsiteX9" fmla="*/ 99060 w 102870"/>
                  <a:gd name="connsiteY9" fmla="*/ 118110 h 139064"/>
                  <a:gd name="connsiteX10" fmla="*/ 101918 w 102870"/>
                  <a:gd name="connsiteY10" fmla="*/ 132398 h 139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2870" h="139064">
                    <a:moveTo>
                      <a:pt x="101918" y="132398"/>
                    </a:moveTo>
                    <a:cubicBezTo>
                      <a:pt x="95250" y="135255"/>
                      <a:pt x="82868" y="139065"/>
                      <a:pt x="66675" y="139065"/>
                    </a:cubicBezTo>
                    <a:cubicBezTo>
                      <a:pt x="28575" y="139065"/>
                      <a:pt x="0" y="115252"/>
                      <a:pt x="0" y="70485"/>
                    </a:cubicBezTo>
                    <a:cubicBezTo>
                      <a:pt x="0" y="27623"/>
                      <a:pt x="28575" y="0"/>
                      <a:pt x="70485" y="0"/>
                    </a:cubicBezTo>
                    <a:cubicBezTo>
                      <a:pt x="86678" y="0"/>
                      <a:pt x="98108" y="3810"/>
                      <a:pt x="102870" y="5715"/>
                    </a:cubicBezTo>
                    <a:lnTo>
                      <a:pt x="98108" y="20002"/>
                    </a:lnTo>
                    <a:cubicBezTo>
                      <a:pt x="91440" y="17145"/>
                      <a:pt x="81915" y="14288"/>
                      <a:pt x="71438" y="14288"/>
                    </a:cubicBezTo>
                    <a:cubicBezTo>
                      <a:pt x="40005" y="14288"/>
                      <a:pt x="19050" y="34290"/>
                      <a:pt x="19050" y="69532"/>
                    </a:cubicBezTo>
                    <a:cubicBezTo>
                      <a:pt x="19050" y="102870"/>
                      <a:pt x="38100" y="123825"/>
                      <a:pt x="70485" y="123825"/>
                    </a:cubicBezTo>
                    <a:cubicBezTo>
                      <a:pt x="80963" y="123825"/>
                      <a:pt x="92393" y="121920"/>
                      <a:pt x="99060" y="118110"/>
                    </a:cubicBezTo>
                    <a:lnTo>
                      <a:pt x="101918" y="132398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3" name="Freeform: Shape 91">
                <a:extLst>
                  <a:ext uri="{FF2B5EF4-FFF2-40B4-BE49-F238E27FC236}">
                    <a16:creationId xmlns:a16="http://schemas.microsoft.com/office/drawing/2014/main" id="{D3F5FF90-4B86-EF8F-0237-8523023CE83C}"/>
                  </a:ext>
                </a:extLst>
              </p:cNvPr>
              <p:cNvSpPr/>
              <p:nvPr/>
            </p:nvSpPr>
            <p:spPr>
              <a:xfrm>
                <a:off x="8383174" y="3715148"/>
                <a:ext cx="112394" cy="135255"/>
              </a:xfrm>
              <a:custGeom>
                <a:avLst/>
                <a:gdLst>
                  <a:gd name="connsiteX0" fmla="*/ 32385 w 112394"/>
                  <a:gd name="connsiteY0" fmla="*/ 92393 h 135255"/>
                  <a:gd name="connsiteX1" fmla="*/ 18097 w 112394"/>
                  <a:gd name="connsiteY1" fmla="*/ 135255 h 135255"/>
                  <a:gd name="connsiteX2" fmla="*/ 0 w 112394"/>
                  <a:gd name="connsiteY2" fmla="*/ 135255 h 135255"/>
                  <a:gd name="connsiteX3" fmla="*/ 45720 w 112394"/>
                  <a:gd name="connsiteY3" fmla="*/ 0 h 135255"/>
                  <a:gd name="connsiteX4" fmla="*/ 66675 w 112394"/>
                  <a:gd name="connsiteY4" fmla="*/ 0 h 135255"/>
                  <a:gd name="connsiteX5" fmla="*/ 112395 w 112394"/>
                  <a:gd name="connsiteY5" fmla="*/ 135255 h 135255"/>
                  <a:gd name="connsiteX6" fmla="*/ 93345 w 112394"/>
                  <a:gd name="connsiteY6" fmla="*/ 135255 h 135255"/>
                  <a:gd name="connsiteX7" fmla="*/ 79057 w 112394"/>
                  <a:gd name="connsiteY7" fmla="*/ 92393 h 135255"/>
                  <a:gd name="connsiteX8" fmla="*/ 32385 w 112394"/>
                  <a:gd name="connsiteY8" fmla="*/ 92393 h 135255"/>
                  <a:gd name="connsiteX9" fmla="*/ 77153 w 112394"/>
                  <a:gd name="connsiteY9" fmla="*/ 79057 h 135255"/>
                  <a:gd name="connsiteX10" fmla="*/ 63817 w 112394"/>
                  <a:gd name="connsiteY10" fmla="*/ 40005 h 135255"/>
                  <a:gd name="connsiteX11" fmla="*/ 57150 w 112394"/>
                  <a:gd name="connsiteY11" fmla="*/ 15240 h 135255"/>
                  <a:gd name="connsiteX12" fmla="*/ 57150 w 112394"/>
                  <a:gd name="connsiteY12" fmla="*/ 15240 h 135255"/>
                  <a:gd name="connsiteX13" fmla="*/ 50482 w 112394"/>
                  <a:gd name="connsiteY13" fmla="*/ 40005 h 135255"/>
                  <a:gd name="connsiteX14" fmla="*/ 37147 w 112394"/>
                  <a:gd name="connsiteY14" fmla="*/ 79057 h 135255"/>
                  <a:gd name="connsiteX15" fmla="*/ 77153 w 112394"/>
                  <a:gd name="connsiteY15" fmla="*/ 79057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394" h="135255">
                    <a:moveTo>
                      <a:pt x="32385" y="92393"/>
                    </a:moveTo>
                    <a:lnTo>
                      <a:pt x="18097" y="135255"/>
                    </a:lnTo>
                    <a:lnTo>
                      <a:pt x="0" y="135255"/>
                    </a:lnTo>
                    <a:lnTo>
                      <a:pt x="45720" y="0"/>
                    </a:lnTo>
                    <a:lnTo>
                      <a:pt x="66675" y="0"/>
                    </a:lnTo>
                    <a:lnTo>
                      <a:pt x="112395" y="135255"/>
                    </a:lnTo>
                    <a:lnTo>
                      <a:pt x="93345" y="135255"/>
                    </a:lnTo>
                    <a:lnTo>
                      <a:pt x="79057" y="92393"/>
                    </a:lnTo>
                    <a:lnTo>
                      <a:pt x="32385" y="92393"/>
                    </a:lnTo>
                    <a:close/>
                    <a:moveTo>
                      <a:pt x="77153" y="79057"/>
                    </a:moveTo>
                    <a:lnTo>
                      <a:pt x="63817" y="40005"/>
                    </a:lnTo>
                    <a:cubicBezTo>
                      <a:pt x="60960" y="31432"/>
                      <a:pt x="59055" y="22860"/>
                      <a:pt x="57150" y="15240"/>
                    </a:cubicBezTo>
                    <a:lnTo>
                      <a:pt x="57150" y="15240"/>
                    </a:lnTo>
                    <a:cubicBezTo>
                      <a:pt x="55245" y="22860"/>
                      <a:pt x="53340" y="31432"/>
                      <a:pt x="50482" y="40005"/>
                    </a:cubicBezTo>
                    <a:lnTo>
                      <a:pt x="37147" y="79057"/>
                    </a:lnTo>
                    <a:lnTo>
                      <a:pt x="77153" y="79057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4" name="Freeform: Shape 92">
                <a:extLst>
                  <a:ext uri="{FF2B5EF4-FFF2-40B4-BE49-F238E27FC236}">
                    <a16:creationId xmlns:a16="http://schemas.microsoft.com/office/drawing/2014/main" id="{2B850B40-9D06-232B-0D51-D8E37F0838A6}"/>
                  </a:ext>
                </a:extLst>
              </p:cNvPr>
              <p:cNvSpPr/>
              <p:nvPr/>
            </p:nvSpPr>
            <p:spPr>
              <a:xfrm>
                <a:off x="8543193" y="3715148"/>
                <a:ext cx="75247" cy="134302"/>
              </a:xfrm>
              <a:custGeom>
                <a:avLst/>
                <a:gdLst>
                  <a:gd name="connsiteX0" fmla="*/ 953 w 75247"/>
                  <a:gd name="connsiteY0" fmla="*/ 0 h 134302"/>
                  <a:gd name="connsiteX1" fmla="*/ 18097 w 75247"/>
                  <a:gd name="connsiteY1" fmla="*/ 0 h 134302"/>
                  <a:gd name="connsiteX2" fmla="*/ 18097 w 75247"/>
                  <a:gd name="connsiteY2" fmla="*/ 120015 h 134302"/>
                  <a:gd name="connsiteX3" fmla="*/ 75247 w 75247"/>
                  <a:gd name="connsiteY3" fmla="*/ 120015 h 134302"/>
                  <a:gd name="connsiteX4" fmla="*/ 75247 w 75247"/>
                  <a:gd name="connsiteY4" fmla="*/ 134302 h 134302"/>
                  <a:gd name="connsiteX5" fmla="*/ 0 w 75247"/>
                  <a:gd name="connsiteY5" fmla="*/ 134302 h 134302"/>
                  <a:gd name="connsiteX6" fmla="*/ 0 w 75247"/>
                  <a:gd name="connsiteY6" fmla="*/ 0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247" h="134302">
                    <a:moveTo>
                      <a:pt x="953" y="0"/>
                    </a:moveTo>
                    <a:lnTo>
                      <a:pt x="18097" y="0"/>
                    </a:lnTo>
                    <a:lnTo>
                      <a:pt x="18097" y="120015"/>
                    </a:lnTo>
                    <a:lnTo>
                      <a:pt x="75247" y="120015"/>
                    </a:lnTo>
                    <a:lnTo>
                      <a:pt x="75247" y="134302"/>
                    </a:lnTo>
                    <a:lnTo>
                      <a:pt x="0" y="13430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5" name="Freeform: Shape 93">
                <a:extLst>
                  <a:ext uri="{FF2B5EF4-FFF2-40B4-BE49-F238E27FC236}">
                    <a16:creationId xmlns:a16="http://schemas.microsoft.com/office/drawing/2014/main" id="{DA0BB3DE-16E8-1CF2-8D03-00BACB572B85}"/>
                  </a:ext>
                </a:extLst>
              </p:cNvPr>
              <p:cNvSpPr/>
              <p:nvPr/>
            </p:nvSpPr>
            <p:spPr>
              <a:xfrm>
                <a:off x="8729884" y="3713244"/>
                <a:ext cx="80962" cy="139064"/>
              </a:xfrm>
              <a:custGeom>
                <a:avLst/>
                <a:gdLst>
                  <a:gd name="connsiteX0" fmla="*/ 3810 w 80962"/>
                  <a:gd name="connsiteY0" fmla="*/ 115252 h 139064"/>
                  <a:gd name="connsiteX1" fmla="*/ 35243 w 80962"/>
                  <a:gd name="connsiteY1" fmla="*/ 123825 h 139064"/>
                  <a:gd name="connsiteX2" fmla="*/ 63818 w 80962"/>
                  <a:gd name="connsiteY2" fmla="*/ 100965 h 139064"/>
                  <a:gd name="connsiteX3" fmla="*/ 38100 w 80962"/>
                  <a:gd name="connsiteY3" fmla="*/ 74295 h 139064"/>
                  <a:gd name="connsiteX4" fmla="*/ 2857 w 80962"/>
                  <a:gd name="connsiteY4" fmla="*/ 36195 h 139064"/>
                  <a:gd name="connsiteX5" fmla="*/ 46672 w 80962"/>
                  <a:gd name="connsiteY5" fmla="*/ 0 h 139064"/>
                  <a:gd name="connsiteX6" fmla="*/ 76200 w 80962"/>
                  <a:gd name="connsiteY6" fmla="*/ 6667 h 139064"/>
                  <a:gd name="connsiteX7" fmla="*/ 71438 w 80962"/>
                  <a:gd name="connsiteY7" fmla="*/ 20955 h 139064"/>
                  <a:gd name="connsiteX8" fmla="*/ 45720 w 80962"/>
                  <a:gd name="connsiteY8" fmla="*/ 14288 h 139064"/>
                  <a:gd name="connsiteX9" fmla="*/ 20003 w 80962"/>
                  <a:gd name="connsiteY9" fmla="*/ 34290 h 139064"/>
                  <a:gd name="connsiteX10" fmla="*/ 46672 w 80962"/>
                  <a:gd name="connsiteY10" fmla="*/ 60007 h 139064"/>
                  <a:gd name="connsiteX11" fmla="*/ 80963 w 80962"/>
                  <a:gd name="connsiteY11" fmla="*/ 100012 h 139064"/>
                  <a:gd name="connsiteX12" fmla="*/ 34290 w 80962"/>
                  <a:gd name="connsiteY12" fmla="*/ 139065 h 139064"/>
                  <a:gd name="connsiteX13" fmla="*/ 0 w 80962"/>
                  <a:gd name="connsiteY13" fmla="*/ 130493 h 139064"/>
                  <a:gd name="connsiteX14" fmla="*/ 3810 w 80962"/>
                  <a:gd name="connsiteY14" fmla="*/ 115252 h 139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80962" h="139064">
                    <a:moveTo>
                      <a:pt x="3810" y="115252"/>
                    </a:moveTo>
                    <a:cubicBezTo>
                      <a:pt x="11430" y="120015"/>
                      <a:pt x="22860" y="123825"/>
                      <a:pt x="35243" y="123825"/>
                    </a:cubicBezTo>
                    <a:cubicBezTo>
                      <a:pt x="53340" y="123825"/>
                      <a:pt x="63818" y="114300"/>
                      <a:pt x="63818" y="100965"/>
                    </a:cubicBezTo>
                    <a:cubicBezTo>
                      <a:pt x="63818" y="88582"/>
                      <a:pt x="56197" y="80962"/>
                      <a:pt x="38100" y="74295"/>
                    </a:cubicBezTo>
                    <a:cubicBezTo>
                      <a:pt x="16193" y="66675"/>
                      <a:pt x="2857" y="54293"/>
                      <a:pt x="2857" y="36195"/>
                    </a:cubicBezTo>
                    <a:cubicBezTo>
                      <a:pt x="2857" y="15240"/>
                      <a:pt x="20003" y="0"/>
                      <a:pt x="46672" y="0"/>
                    </a:cubicBezTo>
                    <a:cubicBezTo>
                      <a:pt x="60007" y="0"/>
                      <a:pt x="70485" y="2857"/>
                      <a:pt x="76200" y="6667"/>
                    </a:cubicBezTo>
                    <a:lnTo>
                      <a:pt x="71438" y="20955"/>
                    </a:lnTo>
                    <a:cubicBezTo>
                      <a:pt x="67628" y="18098"/>
                      <a:pt x="58103" y="14288"/>
                      <a:pt x="45720" y="14288"/>
                    </a:cubicBezTo>
                    <a:cubicBezTo>
                      <a:pt x="27622" y="14288"/>
                      <a:pt x="20003" y="25718"/>
                      <a:pt x="20003" y="34290"/>
                    </a:cubicBezTo>
                    <a:cubicBezTo>
                      <a:pt x="20003" y="46673"/>
                      <a:pt x="28575" y="53340"/>
                      <a:pt x="46672" y="60007"/>
                    </a:cubicBezTo>
                    <a:cubicBezTo>
                      <a:pt x="69532" y="68580"/>
                      <a:pt x="80963" y="80010"/>
                      <a:pt x="80963" y="100012"/>
                    </a:cubicBezTo>
                    <a:cubicBezTo>
                      <a:pt x="80963" y="120968"/>
                      <a:pt x="65722" y="139065"/>
                      <a:pt x="34290" y="139065"/>
                    </a:cubicBezTo>
                    <a:cubicBezTo>
                      <a:pt x="20955" y="139065"/>
                      <a:pt x="6668" y="135255"/>
                      <a:pt x="0" y="130493"/>
                    </a:cubicBezTo>
                    <a:lnTo>
                      <a:pt x="3810" y="115252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6" name="Freeform: Shape 94">
                <a:extLst>
                  <a:ext uri="{FF2B5EF4-FFF2-40B4-BE49-F238E27FC236}">
                    <a16:creationId xmlns:a16="http://schemas.microsoft.com/office/drawing/2014/main" id="{B8BA70F7-4339-B053-9F71-F25D14FBD194}"/>
                  </a:ext>
                </a:extLst>
              </p:cNvPr>
              <p:cNvSpPr/>
              <p:nvPr/>
            </p:nvSpPr>
            <p:spPr>
              <a:xfrm>
                <a:off x="8861328" y="3714196"/>
                <a:ext cx="76200" cy="135254"/>
              </a:xfrm>
              <a:custGeom>
                <a:avLst/>
                <a:gdLst>
                  <a:gd name="connsiteX0" fmla="*/ 70485 w 76200"/>
                  <a:gd name="connsiteY0" fmla="*/ 72390 h 135254"/>
                  <a:gd name="connsiteX1" fmla="*/ 18098 w 76200"/>
                  <a:gd name="connsiteY1" fmla="*/ 72390 h 135254"/>
                  <a:gd name="connsiteX2" fmla="*/ 18098 w 76200"/>
                  <a:gd name="connsiteY2" fmla="*/ 120967 h 135254"/>
                  <a:gd name="connsiteX3" fmla="*/ 76200 w 76200"/>
                  <a:gd name="connsiteY3" fmla="*/ 120967 h 135254"/>
                  <a:gd name="connsiteX4" fmla="*/ 76200 w 76200"/>
                  <a:gd name="connsiteY4" fmla="*/ 135255 h 135254"/>
                  <a:gd name="connsiteX5" fmla="*/ 0 w 76200"/>
                  <a:gd name="connsiteY5" fmla="*/ 135255 h 135254"/>
                  <a:gd name="connsiteX6" fmla="*/ 0 w 76200"/>
                  <a:gd name="connsiteY6" fmla="*/ 0 h 135254"/>
                  <a:gd name="connsiteX7" fmla="*/ 73343 w 76200"/>
                  <a:gd name="connsiteY7" fmla="*/ 0 h 135254"/>
                  <a:gd name="connsiteX8" fmla="*/ 73343 w 76200"/>
                  <a:gd name="connsiteY8" fmla="*/ 14288 h 135254"/>
                  <a:gd name="connsiteX9" fmla="*/ 18098 w 76200"/>
                  <a:gd name="connsiteY9" fmla="*/ 14288 h 135254"/>
                  <a:gd name="connsiteX10" fmla="*/ 18098 w 76200"/>
                  <a:gd name="connsiteY10" fmla="*/ 57150 h 135254"/>
                  <a:gd name="connsiteX11" fmla="*/ 70485 w 76200"/>
                  <a:gd name="connsiteY11" fmla="*/ 57150 h 135254"/>
                  <a:gd name="connsiteX12" fmla="*/ 70485 w 76200"/>
                  <a:gd name="connsiteY12" fmla="*/ 72390 h 13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6200" h="135254">
                    <a:moveTo>
                      <a:pt x="70485" y="72390"/>
                    </a:moveTo>
                    <a:lnTo>
                      <a:pt x="18098" y="72390"/>
                    </a:lnTo>
                    <a:lnTo>
                      <a:pt x="18098" y="120967"/>
                    </a:lnTo>
                    <a:lnTo>
                      <a:pt x="76200" y="120967"/>
                    </a:lnTo>
                    <a:lnTo>
                      <a:pt x="76200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73343" y="0"/>
                    </a:lnTo>
                    <a:lnTo>
                      <a:pt x="73343" y="14288"/>
                    </a:lnTo>
                    <a:lnTo>
                      <a:pt x="18098" y="14288"/>
                    </a:lnTo>
                    <a:lnTo>
                      <a:pt x="18098" y="57150"/>
                    </a:lnTo>
                    <a:lnTo>
                      <a:pt x="70485" y="57150"/>
                    </a:lnTo>
                    <a:lnTo>
                      <a:pt x="70485" y="7239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7" name="Freeform: Shape 95">
                <a:extLst>
                  <a:ext uri="{FF2B5EF4-FFF2-40B4-BE49-F238E27FC236}">
                    <a16:creationId xmlns:a16="http://schemas.microsoft.com/office/drawing/2014/main" id="{867213AE-333D-9D6D-36F9-D3D61B3E8D21}"/>
                  </a:ext>
                </a:extLst>
              </p:cNvPr>
              <p:cNvSpPr/>
              <p:nvPr/>
            </p:nvSpPr>
            <p:spPr>
              <a:xfrm>
                <a:off x="8980391" y="3713244"/>
                <a:ext cx="102870" cy="139064"/>
              </a:xfrm>
              <a:custGeom>
                <a:avLst/>
                <a:gdLst>
                  <a:gd name="connsiteX0" fmla="*/ 101918 w 102870"/>
                  <a:gd name="connsiteY0" fmla="*/ 132398 h 139064"/>
                  <a:gd name="connsiteX1" fmla="*/ 66675 w 102870"/>
                  <a:gd name="connsiteY1" fmla="*/ 139065 h 139064"/>
                  <a:gd name="connsiteX2" fmla="*/ 0 w 102870"/>
                  <a:gd name="connsiteY2" fmla="*/ 70485 h 139064"/>
                  <a:gd name="connsiteX3" fmla="*/ 70485 w 102870"/>
                  <a:gd name="connsiteY3" fmla="*/ 0 h 139064"/>
                  <a:gd name="connsiteX4" fmla="*/ 102870 w 102870"/>
                  <a:gd name="connsiteY4" fmla="*/ 5715 h 139064"/>
                  <a:gd name="connsiteX5" fmla="*/ 98108 w 102870"/>
                  <a:gd name="connsiteY5" fmla="*/ 20002 h 139064"/>
                  <a:gd name="connsiteX6" fmla="*/ 71438 w 102870"/>
                  <a:gd name="connsiteY6" fmla="*/ 14288 h 139064"/>
                  <a:gd name="connsiteX7" fmla="*/ 19050 w 102870"/>
                  <a:gd name="connsiteY7" fmla="*/ 69532 h 139064"/>
                  <a:gd name="connsiteX8" fmla="*/ 70485 w 102870"/>
                  <a:gd name="connsiteY8" fmla="*/ 123825 h 139064"/>
                  <a:gd name="connsiteX9" fmla="*/ 99060 w 102870"/>
                  <a:gd name="connsiteY9" fmla="*/ 118110 h 139064"/>
                  <a:gd name="connsiteX10" fmla="*/ 101918 w 102870"/>
                  <a:gd name="connsiteY10" fmla="*/ 132398 h 139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2870" h="139064">
                    <a:moveTo>
                      <a:pt x="101918" y="132398"/>
                    </a:moveTo>
                    <a:cubicBezTo>
                      <a:pt x="95250" y="135255"/>
                      <a:pt x="82868" y="139065"/>
                      <a:pt x="66675" y="139065"/>
                    </a:cubicBezTo>
                    <a:cubicBezTo>
                      <a:pt x="28575" y="139065"/>
                      <a:pt x="0" y="115252"/>
                      <a:pt x="0" y="70485"/>
                    </a:cubicBezTo>
                    <a:cubicBezTo>
                      <a:pt x="0" y="27623"/>
                      <a:pt x="28575" y="0"/>
                      <a:pt x="70485" y="0"/>
                    </a:cubicBezTo>
                    <a:cubicBezTo>
                      <a:pt x="86678" y="0"/>
                      <a:pt x="98108" y="3810"/>
                      <a:pt x="102870" y="5715"/>
                    </a:cubicBezTo>
                    <a:lnTo>
                      <a:pt x="98108" y="20002"/>
                    </a:lnTo>
                    <a:cubicBezTo>
                      <a:pt x="91440" y="17145"/>
                      <a:pt x="81915" y="14288"/>
                      <a:pt x="71438" y="14288"/>
                    </a:cubicBezTo>
                    <a:cubicBezTo>
                      <a:pt x="40005" y="14288"/>
                      <a:pt x="19050" y="34290"/>
                      <a:pt x="19050" y="69532"/>
                    </a:cubicBezTo>
                    <a:cubicBezTo>
                      <a:pt x="19050" y="102870"/>
                      <a:pt x="38100" y="123825"/>
                      <a:pt x="70485" y="123825"/>
                    </a:cubicBezTo>
                    <a:cubicBezTo>
                      <a:pt x="80963" y="123825"/>
                      <a:pt x="92393" y="121920"/>
                      <a:pt x="99060" y="118110"/>
                    </a:cubicBezTo>
                    <a:lnTo>
                      <a:pt x="101918" y="132398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8" name="Freeform: Shape 96">
                <a:extLst>
                  <a:ext uri="{FF2B5EF4-FFF2-40B4-BE49-F238E27FC236}">
                    <a16:creationId xmlns:a16="http://schemas.microsoft.com/office/drawing/2014/main" id="{5F68C912-AD04-5E61-75AD-12A709483EDF}"/>
                  </a:ext>
                </a:extLst>
              </p:cNvPr>
              <p:cNvSpPr/>
              <p:nvPr/>
            </p:nvSpPr>
            <p:spPr>
              <a:xfrm>
                <a:off x="9131839" y="3714196"/>
                <a:ext cx="88582" cy="137159"/>
              </a:xfrm>
              <a:custGeom>
                <a:avLst/>
                <a:gdLst>
                  <a:gd name="connsiteX0" fmla="*/ 0 w 88582"/>
                  <a:gd name="connsiteY0" fmla="*/ 2858 h 137159"/>
                  <a:gd name="connsiteX1" fmla="*/ 33338 w 88582"/>
                  <a:gd name="connsiteY1" fmla="*/ 0 h 137159"/>
                  <a:gd name="connsiteX2" fmla="*/ 72390 w 88582"/>
                  <a:gd name="connsiteY2" fmla="*/ 11430 h 137159"/>
                  <a:gd name="connsiteX3" fmla="*/ 82867 w 88582"/>
                  <a:gd name="connsiteY3" fmla="*/ 37147 h 137159"/>
                  <a:gd name="connsiteX4" fmla="*/ 58102 w 88582"/>
                  <a:gd name="connsiteY4" fmla="*/ 71438 h 137159"/>
                  <a:gd name="connsiteX5" fmla="*/ 58102 w 88582"/>
                  <a:gd name="connsiteY5" fmla="*/ 72390 h 137159"/>
                  <a:gd name="connsiteX6" fmla="*/ 78105 w 88582"/>
                  <a:gd name="connsiteY6" fmla="*/ 100013 h 137159"/>
                  <a:gd name="connsiteX7" fmla="*/ 88582 w 88582"/>
                  <a:gd name="connsiteY7" fmla="*/ 137160 h 137159"/>
                  <a:gd name="connsiteX8" fmla="*/ 70485 w 88582"/>
                  <a:gd name="connsiteY8" fmla="*/ 137160 h 137159"/>
                  <a:gd name="connsiteX9" fmla="*/ 61913 w 88582"/>
                  <a:gd name="connsiteY9" fmla="*/ 104775 h 137159"/>
                  <a:gd name="connsiteX10" fmla="*/ 34290 w 88582"/>
                  <a:gd name="connsiteY10" fmla="*/ 78105 h 137159"/>
                  <a:gd name="connsiteX11" fmla="*/ 17145 w 88582"/>
                  <a:gd name="connsiteY11" fmla="*/ 78105 h 137159"/>
                  <a:gd name="connsiteX12" fmla="*/ 17145 w 88582"/>
                  <a:gd name="connsiteY12" fmla="*/ 136208 h 137159"/>
                  <a:gd name="connsiteX13" fmla="*/ 0 w 88582"/>
                  <a:gd name="connsiteY13" fmla="*/ 136208 h 137159"/>
                  <a:gd name="connsiteX14" fmla="*/ 0 w 88582"/>
                  <a:gd name="connsiteY14" fmla="*/ 2858 h 137159"/>
                  <a:gd name="connsiteX15" fmla="*/ 17145 w 88582"/>
                  <a:gd name="connsiteY15" fmla="*/ 64770 h 137159"/>
                  <a:gd name="connsiteX16" fmla="*/ 35242 w 88582"/>
                  <a:gd name="connsiteY16" fmla="*/ 64770 h 137159"/>
                  <a:gd name="connsiteX17" fmla="*/ 65722 w 88582"/>
                  <a:gd name="connsiteY17" fmla="*/ 39053 h 137159"/>
                  <a:gd name="connsiteX18" fmla="*/ 34290 w 88582"/>
                  <a:gd name="connsiteY18" fmla="*/ 14288 h 137159"/>
                  <a:gd name="connsiteX19" fmla="*/ 17145 w 88582"/>
                  <a:gd name="connsiteY19" fmla="*/ 15240 h 137159"/>
                  <a:gd name="connsiteX20" fmla="*/ 17145 w 88582"/>
                  <a:gd name="connsiteY20" fmla="*/ 64770 h 137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8582" h="137159">
                    <a:moveTo>
                      <a:pt x="0" y="2858"/>
                    </a:moveTo>
                    <a:cubicBezTo>
                      <a:pt x="8572" y="952"/>
                      <a:pt x="21907" y="0"/>
                      <a:pt x="33338" y="0"/>
                    </a:cubicBezTo>
                    <a:cubicBezTo>
                      <a:pt x="52388" y="0"/>
                      <a:pt x="63817" y="3810"/>
                      <a:pt x="72390" y="11430"/>
                    </a:cubicBezTo>
                    <a:cubicBezTo>
                      <a:pt x="79057" y="17145"/>
                      <a:pt x="82867" y="26670"/>
                      <a:pt x="82867" y="37147"/>
                    </a:cubicBezTo>
                    <a:cubicBezTo>
                      <a:pt x="82867" y="54292"/>
                      <a:pt x="71438" y="66675"/>
                      <a:pt x="58102" y="71438"/>
                    </a:cubicBezTo>
                    <a:lnTo>
                      <a:pt x="58102" y="72390"/>
                    </a:lnTo>
                    <a:cubicBezTo>
                      <a:pt x="68580" y="76200"/>
                      <a:pt x="74295" y="85725"/>
                      <a:pt x="78105" y="100013"/>
                    </a:cubicBezTo>
                    <a:cubicBezTo>
                      <a:pt x="82867" y="119063"/>
                      <a:pt x="85725" y="131445"/>
                      <a:pt x="88582" y="137160"/>
                    </a:cubicBezTo>
                    <a:lnTo>
                      <a:pt x="70485" y="137160"/>
                    </a:lnTo>
                    <a:cubicBezTo>
                      <a:pt x="68580" y="133350"/>
                      <a:pt x="65722" y="121920"/>
                      <a:pt x="61913" y="104775"/>
                    </a:cubicBezTo>
                    <a:cubicBezTo>
                      <a:pt x="58102" y="85725"/>
                      <a:pt x="50482" y="79058"/>
                      <a:pt x="34290" y="78105"/>
                    </a:cubicBezTo>
                    <a:lnTo>
                      <a:pt x="17145" y="78105"/>
                    </a:lnTo>
                    <a:lnTo>
                      <a:pt x="17145" y="136208"/>
                    </a:lnTo>
                    <a:lnTo>
                      <a:pt x="0" y="136208"/>
                    </a:lnTo>
                    <a:lnTo>
                      <a:pt x="0" y="2858"/>
                    </a:lnTo>
                    <a:close/>
                    <a:moveTo>
                      <a:pt x="17145" y="64770"/>
                    </a:moveTo>
                    <a:lnTo>
                      <a:pt x="35242" y="64770"/>
                    </a:lnTo>
                    <a:cubicBezTo>
                      <a:pt x="54292" y="64770"/>
                      <a:pt x="65722" y="54292"/>
                      <a:pt x="65722" y="39053"/>
                    </a:cubicBezTo>
                    <a:cubicBezTo>
                      <a:pt x="65722" y="21908"/>
                      <a:pt x="53340" y="14288"/>
                      <a:pt x="34290" y="14288"/>
                    </a:cubicBezTo>
                    <a:cubicBezTo>
                      <a:pt x="25717" y="14288"/>
                      <a:pt x="20002" y="15240"/>
                      <a:pt x="17145" y="15240"/>
                    </a:cubicBezTo>
                    <a:lnTo>
                      <a:pt x="17145" y="6477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9" name="Freeform: Shape 97">
                <a:extLst>
                  <a:ext uri="{FF2B5EF4-FFF2-40B4-BE49-F238E27FC236}">
                    <a16:creationId xmlns:a16="http://schemas.microsoft.com/office/drawing/2014/main" id="{571266BE-6E0C-2D2B-8EF8-E2EE1B50A3B2}"/>
                  </a:ext>
                </a:extLst>
              </p:cNvPr>
              <p:cNvSpPr/>
              <p:nvPr/>
            </p:nvSpPr>
            <p:spPr>
              <a:xfrm>
                <a:off x="9266141" y="3714196"/>
                <a:ext cx="76200" cy="135254"/>
              </a:xfrm>
              <a:custGeom>
                <a:avLst/>
                <a:gdLst>
                  <a:gd name="connsiteX0" fmla="*/ 70485 w 76200"/>
                  <a:gd name="connsiteY0" fmla="*/ 72390 h 135254"/>
                  <a:gd name="connsiteX1" fmla="*/ 18098 w 76200"/>
                  <a:gd name="connsiteY1" fmla="*/ 72390 h 135254"/>
                  <a:gd name="connsiteX2" fmla="*/ 18098 w 76200"/>
                  <a:gd name="connsiteY2" fmla="*/ 120967 h 135254"/>
                  <a:gd name="connsiteX3" fmla="*/ 76200 w 76200"/>
                  <a:gd name="connsiteY3" fmla="*/ 120967 h 135254"/>
                  <a:gd name="connsiteX4" fmla="*/ 76200 w 76200"/>
                  <a:gd name="connsiteY4" fmla="*/ 135255 h 135254"/>
                  <a:gd name="connsiteX5" fmla="*/ 0 w 76200"/>
                  <a:gd name="connsiteY5" fmla="*/ 135255 h 135254"/>
                  <a:gd name="connsiteX6" fmla="*/ 0 w 76200"/>
                  <a:gd name="connsiteY6" fmla="*/ 0 h 135254"/>
                  <a:gd name="connsiteX7" fmla="*/ 73343 w 76200"/>
                  <a:gd name="connsiteY7" fmla="*/ 0 h 135254"/>
                  <a:gd name="connsiteX8" fmla="*/ 73343 w 76200"/>
                  <a:gd name="connsiteY8" fmla="*/ 14288 h 135254"/>
                  <a:gd name="connsiteX9" fmla="*/ 18098 w 76200"/>
                  <a:gd name="connsiteY9" fmla="*/ 14288 h 135254"/>
                  <a:gd name="connsiteX10" fmla="*/ 18098 w 76200"/>
                  <a:gd name="connsiteY10" fmla="*/ 57150 h 135254"/>
                  <a:gd name="connsiteX11" fmla="*/ 70485 w 76200"/>
                  <a:gd name="connsiteY11" fmla="*/ 57150 h 135254"/>
                  <a:gd name="connsiteX12" fmla="*/ 70485 w 76200"/>
                  <a:gd name="connsiteY12" fmla="*/ 72390 h 13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6200" h="135254">
                    <a:moveTo>
                      <a:pt x="70485" y="72390"/>
                    </a:moveTo>
                    <a:lnTo>
                      <a:pt x="18098" y="72390"/>
                    </a:lnTo>
                    <a:lnTo>
                      <a:pt x="18098" y="120967"/>
                    </a:lnTo>
                    <a:lnTo>
                      <a:pt x="76200" y="120967"/>
                    </a:lnTo>
                    <a:lnTo>
                      <a:pt x="76200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73343" y="0"/>
                    </a:lnTo>
                    <a:lnTo>
                      <a:pt x="73343" y="14288"/>
                    </a:lnTo>
                    <a:lnTo>
                      <a:pt x="18098" y="14288"/>
                    </a:lnTo>
                    <a:lnTo>
                      <a:pt x="18098" y="57150"/>
                    </a:lnTo>
                    <a:lnTo>
                      <a:pt x="70485" y="57150"/>
                    </a:lnTo>
                    <a:lnTo>
                      <a:pt x="70485" y="7239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0" name="Freeform: Shape 98">
                <a:extLst>
                  <a:ext uri="{FF2B5EF4-FFF2-40B4-BE49-F238E27FC236}">
                    <a16:creationId xmlns:a16="http://schemas.microsoft.com/office/drawing/2014/main" id="{E8C45768-77F7-02E8-A067-9BEC373CFD25}"/>
                  </a:ext>
                </a:extLst>
              </p:cNvPr>
              <p:cNvSpPr/>
              <p:nvPr/>
            </p:nvSpPr>
            <p:spPr>
              <a:xfrm>
                <a:off x="9381394" y="3715148"/>
                <a:ext cx="100012" cy="135255"/>
              </a:xfrm>
              <a:custGeom>
                <a:avLst/>
                <a:gdLst>
                  <a:gd name="connsiteX0" fmla="*/ 40957 w 100012"/>
                  <a:gd name="connsiteY0" fmla="*/ 15240 h 135255"/>
                  <a:gd name="connsiteX1" fmla="*/ 0 w 100012"/>
                  <a:gd name="connsiteY1" fmla="*/ 15240 h 135255"/>
                  <a:gd name="connsiteX2" fmla="*/ 0 w 100012"/>
                  <a:gd name="connsiteY2" fmla="*/ 0 h 135255"/>
                  <a:gd name="connsiteX3" fmla="*/ 100013 w 100012"/>
                  <a:gd name="connsiteY3" fmla="*/ 0 h 135255"/>
                  <a:gd name="connsiteX4" fmla="*/ 100013 w 100012"/>
                  <a:gd name="connsiteY4" fmla="*/ 15240 h 135255"/>
                  <a:gd name="connsiteX5" fmla="*/ 59055 w 100012"/>
                  <a:gd name="connsiteY5" fmla="*/ 15240 h 135255"/>
                  <a:gd name="connsiteX6" fmla="*/ 59055 w 100012"/>
                  <a:gd name="connsiteY6" fmla="*/ 135255 h 135255"/>
                  <a:gd name="connsiteX7" fmla="*/ 41910 w 100012"/>
                  <a:gd name="connsiteY7" fmla="*/ 135255 h 135255"/>
                  <a:gd name="connsiteX8" fmla="*/ 41910 w 100012"/>
                  <a:gd name="connsiteY8" fmla="*/ 1524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12" h="135255">
                    <a:moveTo>
                      <a:pt x="40957" y="15240"/>
                    </a:moveTo>
                    <a:lnTo>
                      <a:pt x="0" y="15240"/>
                    </a:lnTo>
                    <a:lnTo>
                      <a:pt x="0" y="0"/>
                    </a:lnTo>
                    <a:lnTo>
                      <a:pt x="100013" y="0"/>
                    </a:lnTo>
                    <a:lnTo>
                      <a:pt x="100013" y="15240"/>
                    </a:lnTo>
                    <a:lnTo>
                      <a:pt x="59055" y="15240"/>
                    </a:lnTo>
                    <a:lnTo>
                      <a:pt x="59055" y="135255"/>
                    </a:lnTo>
                    <a:lnTo>
                      <a:pt x="41910" y="135255"/>
                    </a:lnTo>
                    <a:lnTo>
                      <a:pt x="41910" y="1524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1" name="Freeform: Shape 99">
                <a:extLst>
                  <a:ext uri="{FF2B5EF4-FFF2-40B4-BE49-F238E27FC236}">
                    <a16:creationId xmlns:a16="http://schemas.microsoft.com/office/drawing/2014/main" id="{9F41E8A6-1B8B-78B8-71B0-A146EA2699EF}"/>
                  </a:ext>
                </a:extLst>
              </p:cNvPr>
              <p:cNvSpPr/>
              <p:nvPr/>
            </p:nvSpPr>
            <p:spPr>
              <a:xfrm>
                <a:off x="9497598" y="3715148"/>
                <a:ext cx="112395" cy="135255"/>
              </a:xfrm>
              <a:custGeom>
                <a:avLst/>
                <a:gdLst>
                  <a:gd name="connsiteX0" fmla="*/ 32385 w 112395"/>
                  <a:gd name="connsiteY0" fmla="*/ 92393 h 135255"/>
                  <a:gd name="connsiteX1" fmla="*/ 18098 w 112395"/>
                  <a:gd name="connsiteY1" fmla="*/ 135255 h 135255"/>
                  <a:gd name="connsiteX2" fmla="*/ 0 w 112395"/>
                  <a:gd name="connsiteY2" fmla="*/ 135255 h 135255"/>
                  <a:gd name="connsiteX3" fmla="*/ 45720 w 112395"/>
                  <a:gd name="connsiteY3" fmla="*/ 0 h 135255"/>
                  <a:gd name="connsiteX4" fmla="*/ 66675 w 112395"/>
                  <a:gd name="connsiteY4" fmla="*/ 0 h 135255"/>
                  <a:gd name="connsiteX5" fmla="*/ 112395 w 112395"/>
                  <a:gd name="connsiteY5" fmla="*/ 135255 h 135255"/>
                  <a:gd name="connsiteX6" fmla="*/ 93345 w 112395"/>
                  <a:gd name="connsiteY6" fmla="*/ 135255 h 135255"/>
                  <a:gd name="connsiteX7" fmla="*/ 79058 w 112395"/>
                  <a:gd name="connsiteY7" fmla="*/ 92393 h 135255"/>
                  <a:gd name="connsiteX8" fmla="*/ 32385 w 112395"/>
                  <a:gd name="connsiteY8" fmla="*/ 92393 h 135255"/>
                  <a:gd name="connsiteX9" fmla="*/ 77153 w 112395"/>
                  <a:gd name="connsiteY9" fmla="*/ 79057 h 135255"/>
                  <a:gd name="connsiteX10" fmla="*/ 63818 w 112395"/>
                  <a:gd name="connsiteY10" fmla="*/ 40005 h 135255"/>
                  <a:gd name="connsiteX11" fmla="*/ 57150 w 112395"/>
                  <a:gd name="connsiteY11" fmla="*/ 15240 h 135255"/>
                  <a:gd name="connsiteX12" fmla="*/ 57150 w 112395"/>
                  <a:gd name="connsiteY12" fmla="*/ 15240 h 135255"/>
                  <a:gd name="connsiteX13" fmla="*/ 50483 w 112395"/>
                  <a:gd name="connsiteY13" fmla="*/ 40005 h 135255"/>
                  <a:gd name="connsiteX14" fmla="*/ 37148 w 112395"/>
                  <a:gd name="connsiteY14" fmla="*/ 79057 h 135255"/>
                  <a:gd name="connsiteX15" fmla="*/ 77153 w 112395"/>
                  <a:gd name="connsiteY15" fmla="*/ 79057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395" h="135255">
                    <a:moveTo>
                      <a:pt x="32385" y="92393"/>
                    </a:moveTo>
                    <a:lnTo>
                      <a:pt x="18098" y="135255"/>
                    </a:lnTo>
                    <a:lnTo>
                      <a:pt x="0" y="135255"/>
                    </a:lnTo>
                    <a:lnTo>
                      <a:pt x="45720" y="0"/>
                    </a:lnTo>
                    <a:lnTo>
                      <a:pt x="66675" y="0"/>
                    </a:lnTo>
                    <a:lnTo>
                      <a:pt x="112395" y="135255"/>
                    </a:lnTo>
                    <a:lnTo>
                      <a:pt x="93345" y="135255"/>
                    </a:lnTo>
                    <a:lnTo>
                      <a:pt x="79058" y="92393"/>
                    </a:lnTo>
                    <a:lnTo>
                      <a:pt x="32385" y="92393"/>
                    </a:lnTo>
                    <a:close/>
                    <a:moveTo>
                      <a:pt x="77153" y="79057"/>
                    </a:moveTo>
                    <a:lnTo>
                      <a:pt x="63818" y="40005"/>
                    </a:lnTo>
                    <a:cubicBezTo>
                      <a:pt x="60960" y="31432"/>
                      <a:pt x="59055" y="22860"/>
                      <a:pt x="57150" y="15240"/>
                    </a:cubicBezTo>
                    <a:lnTo>
                      <a:pt x="57150" y="15240"/>
                    </a:lnTo>
                    <a:cubicBezTo>
                      <a:pt x="55245" y="22860"/>
                      <a:pt x="53340" y="31432"/>
                      <a:pt x="50483" y="40005"/>
                    </a:cubicBezTo>
                    <a:lnTo>
                      <a:pt x="37148" y="79057"/>
                    </a:lnTo>
                    <a:lnTo>
                      <a:pt x="77153" y="79057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2" name="Freeform: Shape 100">
                <a:extLst>
                  <a:ext uri="{FF2B5EF4-FFF2-40B4-BE49-F238E27FC236}">
                    <a16:creationId xmlns:a16="http://schemas.microsoft.com/office/drawing/2014/main" id="{E217AD1D-DC33-6A25-FAA3-34AD3BC3E239}"/>
                  </a:ext>
                </a:extLst>
              </p:cNvPr>
              <p:cNvSpPr/>
              <p:nvPr/>
            </p:nvSpPr>
            <p:spPr>
              <a:xfrm>
                <a:off x="9658571" y="3714196"/>
                <a:ext cx="88582" cy="137159"/>
              </a:xfrm>
              <a:custGeom>
                <a:avLst/>
                <a:gdLst>
                  <a:gd name="connsiteX0" fmla="*/ 0 w 88582"/>
                  <a:gd name="connsiteY0" fmla="*/ 2858 h 137159"/>
                  <a:gd name="connsiteX1" fmla="*/ 33338 w 88582"/>
                  <a:gd name="connsiteY1" fmla="*/ 0 h 137159"/>
                  <a:gd name="connsiteX2" fmla="*/ 72390 w 88582"/>
                  <a:gd name="connsiteY2" fmla="*/ 11430 h 137159"/>
                  <a:gd name="connsiteX3" fmla="*/ 82868 w 88582"/>
                  <a:gd name="connsiteY3" fmla="*/ 37147 h 137159"/>
                  <a:gd name="connsiteX4" fmla="*/ 58102 w 88582"/>
                  <a:gd name="connsiteY4" fmla="*/ 71438 h 137159"/>
                  <a:gd name="connsiteX5" fmla="*/ 58102 w 88582"/>
                  <a:gd name="connsiteY5" fmla="*/ 72390 h 137159"/>
                  <a:gd name="connsiteX6" fmla="*/ 78105 w 88582"/>
                  <a:gd name="connsiteY6" fmla="*/ 100013 h 137159"/>
                  <a:gd name="connsiteX7" fmla="*/ 88582 w 88582"/>
                  <a:gd name="connsiteY7" fmla="*/ 137160 h 137159"/>
                  <a:gd name="connsiteX8" fmla="*/ 70485 w 88582"/>
                  <a:gd name="connsiteY8" fmla="*/ 137160 h 137159"/>
                  <a:gd name="connsiteX9" fmla="*/ 61913 w 88582"/>
                  <a:gd name="connsiteY9" fmla="*/ 104775 h 137159"/>
                  <a:gd name="connsiteX10" fmla="*/ 34290 w 88582"/>
                  <a:gd name="connsiteY10" fmla="*/ 78105 h 137159"/>
                  <a:gd name="connsiteX11" fmla="*/ 18098 w 88582"/>
                  <a:gd name="connsiteY11" fmla="*/ 78105 h 137159"/>
                  <a:gd name="connsiteX12" fmla="*/ 18098 w 88582"/>
                  <a:gd name="connsiteY12" fmla="*/ 136208 h 137159"/>
                  <a:gd name="connsiteX13" fmla="*/ 952 w 88582"/>
                  <a:gd name="connsiteY13" fmla="*/ 136208 h 137159"/>
                  <a:gd name="connsiteX14" fmla="*/ 952 w 88582"/>
                  <a:gd name="connsiteY14" fmla="*/ 2858 h 137159"/>
                  <a:gd name="connsiteX15" fmla="*/ 17145 w 88582"/>
                  <a:gd name="connsiteY15" fmla="*/ 64770 h 137159"/>
                  <a:gd name="connsiteX16" fmla="*/ 35243 w 88582"/>
                  <a:gd name="connsiteY16" fmla="*/ 64770 h 137159"/>
                  <a:gd name="connsiteX17" fmla="*/ 65723 w 88582"/>
                  <a:gd name="connsiteY17" fmla="*/ 39053 h 137159"/>
                  <a:gd name="connsiteX18" fmla="*/ 34290 w 88582"/>
                  <a:gd name="connsiteY18" fmla="*/ 14288 h 137159"/>
                  <a:gd name="connsiteX19" fmla="*/ 17145 w 88582"/>
                  <a:gd name="connsiteY19" fmla="*/ 15240 h 137159"/>
                  <a:gd name="connsiteX20" fmla="*/ 17145 w 88582"/>
                  <a:gd name="connsiteY20" fmla="*/ 64770 h 137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8582" h="137159">
                    <a:moveTo>
                      <a:pt x="0" y="2858"/>
                    </a:moveTo>
                    <a:cubicBezTo>
                      <a:pt x="8573" y="952"/>
                      <a:pt x="21907" y="0"/>
                      <a:pt x="33338" y="0"/>
                    </a:cubicBezTo>
                    <a:cubicBezTo>
                      <a:pt x="52388" y="0"/>
                      <a:pt x="63818" y="3810"/>
                      <a:pt x="72390" y="11430"/>
                    </a:cubicBezTo>
                    <a:cubicBezTo>
                      <a:pt x="79057" y="17145"/>
                      <a:pt x="82868" y="26670"/>
                      <a:pt x="82868" y="37147"/>
                    </a:cubicBezTo>
                    <a:cubicBezTo>
                      <a:pt x="82868" y="54292"/>
                      <a:pt x="71438" y="66675"/>
                      <a:pt x="58102" y="71438"/>
                    </a:cubicBezTo>
                    <a:lnTo>
                      <a:pt x="58102" y="72390"/>
                    </a:lnTo>
                    <a:cubicBezTo>
                      <a:pt x="68580" y="76200"/>
                      <a:pt x="74295" y="85725"/>
                      <a:pt x="78105" y="100013"/>
                    </a:cubicBezTo>
                    <a:cubicBezTo>
                      <a:pt x="82868" y="119063"/>
                      <a:pt x="85725" y="131445"/>
                      <a:pt x="88582" y="137160"/>
                    </a:cubicBezTo>
                    <a:lnTo>
                      <a:pt x="70485" y="137160"/>
                    </a:lnTo>
                    <a:cubicBezTo>
                      <a:pt x="68580" y="133350"/>
                      <a:pt x="65723" y="121920"/>
                      <a:pt x="61913" y="104775"/>
                    </a:cubicBezTo>
                    <a:cubicBezTo>
                      <a:pt x="58102" y="85725"/>
                      <a:pt x="50482" y="79058"/>
                      <a:pt x="34290" y="78105"/>
                    </a:cubicBezTo>
                    <a:lnTo>
                      <a:pt x="18098" y="78105"/>
                    </a:lnTo>
                    <a:lnTo>
                      <a:pt x="18098" y="136208"/>
                    </a:lnTo>
                    <a:lnTo>
                      <a:pt x="952" y="136208"/>
                    </a:lnTo>
                    <a:lnTo>
                      <a:pt x="952" y="2858"/>
                    </a:lnTo>
                    <a:close/>
                    <a:moveTo>
                      <a:pt x="17145" y="64770"/>
                    </a:moveTo>
                    <a:lnTo>
                      <a:pt x="35243" y="64770"/>
                    </a:lnTo>
                    <a:cubicBezTo>
                      <a:pt x="54293" y="64770"/>
                      <a:pt x="65723" y="54292"/>
                      <a:pt x="65723" y="39053"/>
                    </a:cubicBezTo>
                    <a:cubicBezTo>
                      <a:pt x="65723" y="21908"/>
                      <a:pt x="53340" y="14288"/>
                      <a:pt x="34290" y="14288"/>
                    </a:cubicBezTo>
                    <a:cubicBezTo>
                      <a:pt x="25718" y="14288"/>
                      <a:pt x="20002" y="15240"/>
                      <a:pt x="17145" y="15240"/>
                    </a:cubicBezTo>
                    <a:lnTo>
                      <a:pt x="17145" y="6477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3" name="Freeform: Shape 101">
                <a:extLst>
                  <a:ext uri="{FF2B5EF4-FFF2-40B4-BE49-F238E27FC236}">
                    <a16:creationId xmlns:a16="http://schemas.microsoft.com/office/drawing/2014/main" id="{6B0E7352-EB0F-AC25-C26B-99F21569C428}"/>
                  </a:ext>
                </a:extLst>
              </p:cNvPr>
              <p:cNvSpPr/>
              <p:nvPr/>
            </p:nvSpPr>
            <p:spPr>
              <a:xfrm>
                <a:off x="9793826" y="3715148"/>
                <a:ext cx="17144" cy="135255"/>
              </a:xfrm>
              <a:custGeom>
                <a:avLst/>
                <a:gdLst>
                  <a:gd name="connsiteX0" fmla="*/ 17145 w 17144"/>
                  <a:gd name="connsiteY0" fmla="*/ 0 h 135255"/>
                  <a:gd name="connsiteX1" fmla="*/ 17145 w 17144"/>
                  <a:gd name="connsiteY1" fmla="*/ 135255 h 135255"/>
                  <a:gd name="connsiteX2" fmla="*/ 0 w 17144"/>
                  <a:gd name="connsiteY2" fmla="*/ 135255 h 135255"/>
                  <a:gd name="connsiteX3" fmla="*/ 0 w 17144"/>
                  <a:gd name="connsiteY3" fmla="*/ 0 h 135255"/>
                  <a:gd name="connsiteX4" fmla="*/ 17145 w 17144"/>
                  <a:gd name="connsiteY4" fmla="*/ 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4" h="135255">
                    <a:moveTo>
                      <a:pt x="17145" y="0"/>
                    </a:moveTo>
                    <a:lnTo>
                      <a:pt x="17145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4" name="Freeform: Shape 102">
                <a:extLst>
                  <a:ext uri="{FF2B5EF4-FFF2-40B4-BE49-F238E27FC236}">
                    <a16:creationId xmlns:a16="http://schemas.microsoft.com/office/drawing/2014/main" id="{1197822C-D8BE-B7A3-95CD-8F334C6162C0}"/>
                  </a:ext>
                </a:extLst>
              </p:cNvPr>
              <p:cNvSpPr/>
              <p:nvPr/>
            </p:nvSpPr>
            <p:spPr>
              <a:xfrm>
                <a:off x="9858596" y="3715148"/>
                <a:ext cx="112394" cy="135255"/>
              </a:xfrm>
              <a:custGeom>
                <a:avLst/>
                <a:gdLst>
                  <a:gd name="connsiteX0" fmla="*/ 32385 w 112394"/>
                  <a:gd name="connsiteY0" fmla="*/ 92393 h 135255"/>
                  <a:gd name="connsiteX1" fmla="*/ 18098 w 112394"/>
                  <a:gd name="connsiteY1" fmla="*/ 135255 h 135255"/>
                  <a:gd name="connsiteX2" fmla="*/ 0 w 112394"/>
                  <a:gd name="connsiteY2" fmla="*/ 135255 h 135255"/>
                  <a:gd name="connsiteX3" fmla="*/ 45720 w 112394"/>
                  <a:gd name="connsiteY3" fmla="*/ 0 h 135255"/>
                  <a:gd name="connsiteX4" fmla="*/ 66675 w 112394"/>
                  <a:gd name="connsiteY4" fmla="*/ 0 h 135255"/>
                  <a:gd name="connsiteX5" fmla="*/ 112395 w 112394"/>
                  <a:gd name="connsiteY5" fmla="*/ 135255 h 135255"/>
                  <a:gd name="connsiteX6" fmla="*/ 93345 w 112394"/>
                  <a:gd name="connsiteY6" fmla="*/ 135255 h 135255"/>
                  <a:gd name="connsiteX7" fmla="*/ 79057 w 112394"/>
                  <a:gd name="connsiteY7" fmla="*/ 92393 h 135255"/>
                  <a:gd name="connsiteX8" fmla="*/ 32385 w 112394"/>
                  <a:gd name="connsiteY8" fmla="*/ 92393 h 135255"/>
                  <a:gd name="connsiteX9" fmla="*/ 76200 w 112394"/>
                  <a:gd name="connsiteY9" fmla="*/ 79057 h 135255"/>
                  <a:gd name="connsiteX10" fmla="*/ 62865 w 112394"/>
                  <a:gd name="connsiteY10" fmla="*/ 40005 h 135255"/>
                  <a:gd name="connsiteX11" fmla="*/ 56198 w 112394"/>
                  <a:gd name="connsiteY11" fmla="*/ 15240 h 135255"/>
                  <a:gd name="connsiteX12" fmla="*/ 56198 w 112394"/>
                  <a:gd name="connsiteY12" fmla="*/ 15240 h 135255"/>
                  <a:gd name="connsiteX13" fmla="*/ 49530 w 112394"/>
                  <a:gd name="connsiteY13" fmla="*/ 40005 h 135255"/>
                  <a:gd name="connsiteX14" fmla="*/ 36195 w 112394"/>
                  <a:gd name="connsiteY14" fmla="*/ 79057 h 135255"/>
                  <a:gd name="connsiteX15" fmla="*/ 76200 w 112394"/>
                  <a:gd name="connsiteY15" fmla="*/ 79057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394" h="135255">
                    <a:moveTo>
                      <a:pt x="32385" y="92393"/>
                    </a:moveTo>
                    <a:lnTo>
                      <a:pt x="18098" y="135255"/>
                    </a:lnTo>
                    <a:lnTo>
                      <a:pt x="0" y="135255"/>
                    </a:lnTo>
                    <a:lnTo>
                      <a:pt x="45720" y="0"/>
                    </a:lnTo>
                    <a:lnTo>
                      <a:pt x="66675" y="0"/>
                    </a:lnTo>
                    <a:lnTo>
                      <a:pt x="112395" y="135255"/>
                    </a:lnTo>
                    <a:lnTo>
                      <a:pt x="93345" y="135255"/>
                    </a:lnTo>
                    <a:lnTo>
                      <a:pt x="79057" y="92393"/>
                    </a:lnTo>
                    <a:lnTo>
                      <a:pt x="32385" y="92393"/>
                    </a:lnTo>
                    <a:close/>
                    <a:moveTo>
                      <a:pt x="76200" y="79057"/>
                    </a:moveTo>
                    <a:lnTo>
                      <a:pt x="62865" y="40005"/>
                    </a:lnTo>
                    <a:cubicBezTo>
                      <a:pt x="60007" y="31432"/>
                      <a:pt x="58102" y="22860"/>
                      <a:pt x="56198" y="15240"/>
                    </a:cubicBezTo>
                    <a:lnTo>
                      <a:pt x="56198" y="15240"/>
                    </a:lnTo>
                    <a:cubicBezTo>
                      <a:pt x="54293" y="22860"/>
                      <a:pt x="52388" y="31432"/>
                      <a:pt x="49530" y="40005"/>
                    </a:cubicBezTo>
                    <a:lnTo>
                      <a:pt x="36195" y="79057"/>
                    </a:lnTo>
                    <a:lnTo>
                      <a:pt x="76200" y="79057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5" name="Freeform: Shape 103">
                <a:extLst>
                  <a:ext uri="{FF2B5EF4-FFF2-40B4-BE49-F238E27FC236}">
                    <a16:creationId xmlns:a16="http://schemas.microsoft.com/office/drawing/2014/main" id="{6FE33525-FF41-2037-1BE4-EAF2B67E5BD5}"/>
                  </a:ext>
                </a:extLst>
              </p:cNvPr>
              <p:cNvSpPr/>
              <p:nvPr/>
            </p:nvSpPr>
            <p:spPr>
              <a:xfrm>
                <a:off x="9988136" y="3715148"/>
                <a:ext cx="100012" cy="135255"/>
              </a:xfrm>
              <a:custGeom>
                <a:avLst/>
                <a:gdLst>
                  <a:gd name="connsiteX0" fmla="*/ 40958 w 100012"/>
                  <a:gd name="connsiteY0" fmla="*/ 15240 h 135255"/>
                  <a:gd name="connsiteX1" fmla="*/ 0 w 100012"/>
                  <a:gd name="connsiteY1" fmla="*/ 15240 h 135255"/>
                  <a:gd name="connsiteX2" fmla="*/ 0 w 100012"/>
                  <a:gd name="connsiteY2" fmla="*/ 0 h 135255"/>
                  <a:gd name="connsiteX3" fmla="*/ 100013 w 100012"/>
                  <a:gd name="connsiteY3" fmla="*/ 0 h 135255"/>
                  <a:gd name="connsiteX4" fmla="*/ 100013 w 100012"/>
                  <a:gd name="connsiteY4" fmla="*/ 15240 h 135255"/>
                  <a:gd name="connsiteX5" fmla="*/ 59055 w 100012"/>
                  <a:gd name="connsiteY5" fmla="*/ 15240 h 135255"/>
                  <a:gd name="connsiteX6" fmla="*/ 59055 w 100012"/>
                  <a:gd name="connsiteY6" fmla="*/ 135255 h 135255"/>
                  <a:gd name="connsiteX7" fmla="*/ 41910 w 100012"/>
                  <a:gd name="connsiteY7" fmla="*/ 135255 h 135255"/>
                  <a:gd name="connsiteX8" fmla="*/ 41910 w 100012"/>
                  <a:gd name="connsiteY8" fmla="*/ 1524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12" h="135255">
                    <a:moveTo>
                      <a:pt x="40958" y="15240"/>
                    </a:moveTo>
                    <a:lnTo>
                      <a:pt x="0" y="15240"/>
                    </a:lnTo>
                    <a:lnTo>
                      <a:pt x="0" y="0"/>
                    </a:lnTo>
                    <a:lnTo>
                      <a:pt x="100013" y="0"/>
                    </a:lnTo>
                    <a:lnTo>
                      <a:pt x="100013" y="15240"/>
                    </a:lnTo>
                    <a:lnTo>
                      <a:pt x="59055" y="15240"/>
                    </a:lnTo>
                    <a:lnTo>
                      <a:pt x="59055" y="135255"/>
                    </a:lnTo>
                    <a:lnTo>
                      <a:pt x="41910" y="135255"/>
                    </a:lnTo>
                    <a:lnTo>
                      <a:pt x="41910" y="1524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grpSp>
          <p:nvGrpSpPr>
            <p:cNvPr id="17" name="Group 65">
              <a:extLst>
                <a:ext uri="{FF2B5EF4-FFF2-40B4-BE49-F238E27FC236}">
                  <a16:creationId xmlns:a16="http://schemas.microsoft.com/office/drawing/2014/main" id="{5BD440CB-F10F-09DD-40A5-BD41D0DFD4E8}"/>
                </a:ext>
              </a:extLst>
            </p:cNvPr>
            <p:cNvGrpSpPr/>
            <p:nvPr/>
          </p:nvGrpSpPr>
          <p:grpSpPr>
            <a:xfrm>
              <a:off x="4488401" y="2530239"/>
              <a:ext cx="1140142" cy="1263014"/>
              <a:chOff x="4488401" y="2530239"/>
              <a:chExt cx="1140142" cy="1263014"/>
            </a:xfrm>
          </p:grpSpPr>
          <p:sp>
            <p:nvSpPr>
              <p:cNvPr id="18" name="Freeform: Shape 66">
                <a:extLst>
                  <a:ext uri="{FF2B5EF4-FFF2-40B4-BE49-F238E27FC236}">
                    <a16:creationId xmlns:a16="http://schemas.microsoft.com/office/drawing/2014/main" id="{D373B954-1001-51BE-96E4-38360130D1EE}"/>
                  </a:ext>
                </a:extLst>
              </p:cNvPr>
              <p:cNvSpPr/>
              <p:nvPr/>
            </p:nvSpPr>
            <p:spPr>
              <a:xfrm>
                <a:off x="4849398" y="3387488"/>
                <a:ext cx="382905" cy="405765"/>
              </a:xfrm>
              <a:custGeom>
                <a:avLst/>
                <a:gdLst>
                  <a:gd name="connsiteX0" fmla="*/ 48578 w 382905"/>
                  <a:gd name="connsiteY0" fmla="*/ 274320 h 405765"/>
                  <a:gd name="connsiteX1" fmla="*/ 48578 w 382905"/>
                  <a:gd name="connsiteY1" fmla="*/ 274320 h 405765"/>
                  <a:gd name="connsiteX2" fmla="*/ 213360 w 382905"/>
                  <a:gd name="connsiteY2" fmla="*/ 405765 h 405765"/>
                  <a:gd name="connsiteX3" fmla="*/ 382905 w 382905"/>
                  <a:gd name="connsiteY3" fmla="*/ 236220 h 405765"/>
                  <a:gd name="connsiteX4" fmla="*/ 382905 w 382905"/>
                  <a:gd name="connsiteY4" fmla="*/ 236220 h 405765"/>
                  <a:gd name="connsiteX5" fmla="*/ 298133 w 382905"/>
                  <a:gd name="connsiteY5" fmla="*/ 88583 h 405765"/>
                  <a:gd name="connsiteX6" fmla="*/ 54293 w 382905"/>
                  <a:gd name="connsiteY6" fmla="*/ 50483 h 405765"/>
                  <a:gd name="connsiteX7" fmla="*/ 0 w 382905"/>
                  <a:gd name="connsiteY7" fmla="*/ 0 h 405765"/>
                  <a:gd name="connsiteX8" fmla="*/ 0 w 382905"/>
                  <a:gd name="connsiteY8" fmla="*/ 0 h 405765"/>
                  <a:gd name="connsiteX9" fmla="*/ 48578 w 382905"/>
                  <a:gd name="connsiteY9" fmla="*/ 274320 h 405765"/>
                  <a:gd name="connsiteX10" fmla="*/ 48578 w 382905"/>
                  <a:gd name="connsiteY10" fmla="*/ 274320 h 405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2905" h="405765">
                    <a:moveTo>
                      <a:pt x="48578" y="274320"/>
                    </a:moveTo>
                    <a:lnTo>
                      <a:pt x="48578" y="274320"/>
                    </a:lnTo>
                    <a:cubicBezTo>
                      <a:pt x="65723" y="349568"/>
                      <a:pt x="133350" y="405765"/>
                      <a:pt x="213360" y="405765"/>
                    </a:cubicBezTo>
                    <a:cubicBezTo>
                      <a:pt x="306705" y="405765"/>
                      <a:pt x="382905" y="329565"/>
                      <a:pt x="382905" y="236220"/>
                    </a:cubicBezTo>
                    <a:lnTo>
                      <a:pt x="382905" y="236220"/>
                    </a:lnTo>
                    <a:cubicBezTo>
                      <a:pt x="382905" y="177165"/>
                      <a:pt x="352425" y="120015"/>
                      <a:pt x="298133" y="88583"/>
                    </a:cubicBezTo>
                    <a:cubicBezTo>
                      <a:pt x="203835" y="34290"/>
                      <a:pt x="148590" y="104775"/>
                      <a:pt x="54293" y="50483"/>
                    </a:cubicBezTo>
                    <a:cubicBezTo>
                      <a:pt x="28575" y="35243"/>
                      <a:pt x="11430" y="18098"/>
                      <a:pt x="0" y="0"/>
                    </a:cubicBezTo>
                    <a:lnTo>
                      <a:pt x="0" y="0"/>
                    </a:lnTo>
                    <a:lnTo>
                      <a:pt x="48578" y="274320"/>
                    </a:lnTo>
                    <a:lnTo>
                      <a:pt x="48578" y="274320"/>
                    </a:lnTo>
                    <a:close/>
                  </a:path>
                </a:pathLst>
              </a:custGeom>
              <a:solidFill>
                <a:srgbClr val="C85A0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9" name="Freeform: Shape 67">
                <a:extLst>
                  <a:ext uri="{FF2B5EF4-FFF2-40B4-BE49-F238E27FC236}">
                    <a16:creationId xmlns:a16="http://schemas.microsoft.com/office/drawing/2014/main" id="{A0F5D75E-860B-857D-C6C3-597250151C53}"/>
                  </a:ext>
                </a:extLst>
              </p:cNvPr>
              <p:cNvSpPr/>
              <p:nvPr/>
            </p:nvSpPr>
            <p:spPr>
              <a:xfrm>
                <a:off x="4488401" y="3061734"/>
                <a:ext cx="409575" cy="601027"/>
              </a:xfrm>
              <a:custGeom>
                <a:avLst/>
                <a:gdLst>
                  <a:gd name="connsiteX0" fmla="*/ 53340 w 409575"/>
                  <a:gd name="connsiteY0" fmla="*/ 206692 h 601027"/>
                  <a:gd name="connsiteX1" fmla="*/ 0 w 409575"/>
                  <a:gd name="connsiteY1" fmla="*/ 330517 h 601027"/>
                  <a:gd name="connsiteX2" fmla="*/ 169545 w 409575"/>
                  <a:gd name="connsiteY2" fmla="*/ 500063 h 601027"/>
                  <a:gd name="connsiteX3" fmla="*/ 206693 w 409575"/>
                  <a:gd name="connsiteY3" fmla="*/ 496253 h 601027"/>
                  <a:gd name="connsiteX4" fmla="*/ 337185 w 409575"/>
                  <a:gd name="connsiteY4" fmla="*/ 512445 h 601027"/>
                  <a:gd name="connsiteX5" fmla="*/ 409575 w 409575"/>
                  <a:gd name="connsiteY5" fmla="*/ 601028 h 601027"/>
                  <a:gd name="connsiteX6" fmla="*/ 409575 w 409575"/>
                  <a:gd name="connsiteY6" fmla="*/ 601028 h 601027"/>
                  <a:gd name="connsiteX7" fmla="*/ 360045 w 409575"/>
                  <a:gd name="connsiteY7" fmla="*/ 326708 h 601027"/>
                  <a:gd name="connsiteX8" fmla="*/ 360045 w 409575"/>
                  <a:gd name="connsiteY8" fmla="*/ 326708 h 601027"/>
                  <a:gd name="connsiteX9" fmla="*/ 329565 w 409575"/>
                  <a:gd name="connsiteY9" fmla="*/ 265748 h 601027"/>
                  <a:gd name="connsiteX10" fmla="*/ 249555 w 409575"/>
                  <a:gd name="connsiteY10" fmla="*/ 100965 h 601027"/>
                  <a:gd name="connsiteX11" fmla="*/ 282893 w 409575"/>
                  <a:gd name="connsiteY11" fmla="*/ 0 h 601027"/>
                  <a:gd name="connsiteX12" fmla="*/ 53340 w 409575"/>
                  <a:gd name="connsiteY12" fmla="*/ 206692 h 601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09575" h="601027">
                    <a:moveTo>
                      <a:pt x="53340" y="206692"/>
                    </a:moveTo>
                    <a:cubicBezTo>
                      <a:pt x="27622" y="239077"/>
                      <a:pt x="0" y="267653"/>
                      <a:pt x="0" y="330517"/>
                    </a:cubicBezTo>
                    <a:cubicBezTo>
                      <a:pt x="0" y="423863"/>
                      <a:pt x="76200" y="500063"/>
                      <a:pt x="169545" y="500063"/>
                    </a:cubicBezTo>
                    <a:cubicBezTo>
                      <a:pt x="182880" y="500063"/>
                      <a:pt x="195263" y="498158"/>
                      <a:pt x="206693" y="496253"/>
                    </a:cubicBezTo>
                    <a:cubicBezTo>
                      <a:pt x="245745" y="490538"/>
                      <a:pt x="283845" y="481965"/>
                      <a:pt x="337185" y="512445"/>
                    </a:cubicBezTo>
                    <a:cubicBezTo>
                      <a:pt x="381953" y="538163"/>
                      <a:pt x="397193" y="569595"/>
                      <a:pt x="409575" y="601028"/>
                    </a:cubicBezTo>
                    <a:lnTo>
                      <a:pt x="409575" y="601028"/>
                    </a:lnTo>
                    <a:lnTo>
                      <a:pt x="360045" y="326708"/>
                    </a:lnTo>
                    <a:lnTo>
                      <a:pt x="360045" y="326708"/>
                    </a:lnTo>
                    <a:cubicBezTo>
                      <a:pt x="346710" y="306705"/>
                      <a:pt x="339090" y="285750"/>
                      <a:pt x="329565" y="265748"/>
                    </a:cubicBezTo>
                    <a:cubicBezTo>
                      <a:pt x="298133" y="198120"/>
                      <a:pt x="249555" y="188595"/>
                      <a:pt x="249555" y="100965"/>
                    </a:cubicBezTo>
                    <a:cubicBezTo>
                      <a:pt x="249555" y="55245"/>
                      <a:pt x="264795" y="25718"/>
                      <a:pt x="282893" y="0"/>
                    </a:cubicBezTo>
                    <a:lnTo>
                      <a:pt x="53340" y="206692"/>
                    </a:lnTo>
                    <a:close/>
                  </a:path>
                </a:pathLst>
              </a:custGeom>
              <a:solidFill>
                <a:srgbClr val="EE720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0" name="Freeform: Shape 68">
                <a:extLst>
                  <a:ext uri="{FF2B5EF4-FFF2-40B4-BE49-F238E27FC236}">
                    <a16:creationId xmlns:a16="http://schemas.microsoft.com/office/drawing/2014/main" id="{94F720FF-4032-CD37-9F60-FCE2DE8AA591}"/>
                  </a:ext>
                </a:extLst>
              </p:cNvPr>
              <p:cNvSpPr/>
              <p:nvPr/>
            </p:nvSpPr>
            <p:spPr>
              <a:xfrm>
                <a:off x="4488401" y="2760744"/>
                <a:ext cx="527684" cy="507682"/>
              </a:xfrm>
              <a:custGeom>
                <a:avLst/>
                <a:gdLst>
                  <a:gd name="connsiteX0" fmla="*/ 212408 w 527684"/>
                  <a:gd name="connsiteY0" fmla="*/ 2858 h 507682"/>
                  <a:gd name="connsiteX1" fmla="*/ 129540 w 527684"/>
                  <a:gd name="connsiteY1" fmla="*/ 5715 h 507682"/>
                  <a:gd name="connsiteX2" fmla="*/ 0 w 527684"/>
                  <a:gd name="connsiteY2" fmla="*/ 170497 h 507682"/>
                  <a:gd name="connsiteX3" fmla="*/ 93345 w 527684"/>
                  <a:gd name="connsiteY3" fmla="*/ 401003 h 507682"/>
                  <a:gd name="connsiteX4" fmla="*/ 53340 w 527684"/>
                  <a:gd name="connsiteY4" fmla="*/ 507682 h 507682"/>
                  <a:gd name="connsiteX5" fmla="*/ 283845 w 527684"/>
                  <a:gd name="connsiteY5" fmla="*/ 300038 h 507682"/>
                  <a:gd name="connsiteX6" fmla="*/ 283845 w 527684"/>
                  <a:gd name="connsiteY6" fmla="*/ 300038 h 507682"/>
                  <a:gd name="connsiteX7" fmla="*/ 412433 w 527684"/>
                  <a:gd name="connsiteY7" fmla="*/ 119063 h 507682"/>
                  <a:gd name="connsiteX8" fmla="*/ 527685 w 527684"/>
                  <a:gd name="connsiteY8" fmla="*/ 100965 h 507682"/>
                  <a:gd name="connsiteX9" fmla="*/ 527685 w 527684"/>
                  <a:gd name="connsiteY9" fmla="*/ 100965 h 507682"/>
                  <a:gd name="connsiteX10" fmla="*/ 212408 w 527684"/>
                  <a:gd name="connsiteY10" fmla="*/ 2858 h 507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27684" h="507682">
                    <a:moveTo>
                      <a:pt x="212408" y="2858"/>
                    </a:moveTo>
                    <a:cubicBezTo>
                      <a:pt x="185738" y="0"/>
                      <a:pt x="160020" y="-2857"/>
                      <a:pt x="129540" y="5715"/>
                    </a:cubicBezTo>
                    <a:cubicBezTo>
                      <a:pt x="55245" y="23812"/>
                      <a:pt x="0" y="90488"/>
                      <a:pt x="0" y="170497"/>
                    </a:cubicBezTo>
                    <a:cubicBezTo>
                      <a:pt x="0" y="285750"/>
                      <a:pt x="93345" y="286703"/>
                      <a:pt x="93345" y="401003"/>
                    </a:cubicBezTo>
                    <a:cubicBezTo>
                      <a:pt x="93345" y="452438"/>
                      <a:pt x="74295" y="481013"/>
                      <a:pt x="53340" y="507682"/>
                    </a:cubicBezTo>
                    <a:lnTo>
                      <a:pt x="283845" y="300038"/>
                    </a:lnTo>
                    <a:lnTo>
                      <a:pt x="283845" y="300038"/>
                    </a:lnTo>
                    <a:cubicBezTo>
                      <a:pt x="352425" y="243840"/>
                      <a:pt x="322898" y="171450"/>
                      <a:pt x="412433" y="119063"/>
                    </a:cubicBezTo>
                    <a:cubicBezTo>
                      <a:pt x="458153" y="92392"/>
                      <a:pt x="493395" y="95250"/>
                      <a:pt x="527685" y="100965"/>
                    </a:cubicBezTo>
                    <a:lnTo>
                      <a:pt x="527685" y="100965"/>
                    </a:lnTo>
                    <a:lnTo>
                      <a:pt x="212408" y="2858"/>
                    </a:lnTo>
                    <a:close/>
                  </a:path>
                </a:pathLst>
              </a:custGeom>
              <a:solidFill>
                <a:srgbClr val="F3953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grpSp>
            <p:nvGrpSpPr>
              <p:cNvPr id="21" name="Graphic 7">
                <a:extLst>
                  <a:ext uri="{FF2B5EF4-FFF2-40B4-BE49-F238E27FC236}">
                    <a16:creationId xmlns:a16="http://schemas.microsoft.com/office/drawing/2014/main" id="{E5E16336-DF1B-2992-31AD-8E0A42D16522}"/>
                  </a:ext>
                </a:extLst>
              </p:cNvPr>
              <p:cNvGrpSpPr/>
              <p:nvPr/>
            </p:nvGrpSpPr>
            <p:grpSpPr>
              <a:xfrm>
                <a:off x="4703666" y="2530239"/>
                <a:ext cx="924877" cy="570547"/>
                <a:chOff x="4703666" y="2530239"/>
                <a:chExt cx="924877" cy="570547"/>
              </a:xfrm>
              <a:solidFill>
                <a:srgbClr val="BFC3C6"/>
              </a:solidFill>
            </p:grpSpPr>
            <p:sp>
              <p:nvSpPr>
                <p:cNvPr id="22" name="Freeform: Shape 70">
                  <a:extLst>
                    <a:ext uri="{FF2B5EF4-FFF2-40B4-BE49-F238E27FC236}">
                      <a16:creationId xmlns:a16="http://schemas.microsoft.com/office/drawing/2014/main" id="{B7B209A6-4A48-3419-AA70-9475D1F99A02}"/>
                    </a:ext>
                  </a:extLst>
                </p:cNvPr>
                <p:cNvSpPr/>
                <p:nvPr/>
              </p:nvSpPr>
              <p:spPr>
                <a:xfrm>
                  <a:off x="4703666" y="2530239"/>
                  <a:ext cx="528637" cy="338137"/>
                </a:xfrm>
                <a:custGeom>
                  <a:avLst/>
                  <a:gdLst>
                    <a:gd name="connsiteX0" fmla="*/ 528638 w 528637"/>
                    <a:gd name="connsiteY0" fmla="*/ 168593 h 338137"/>
                    <a:gd name="connsiteX1" fmla="*/ 528638 w 528637"/>
                    <a:gd name="connsiteY1" fmla="*/ 168593 h 338137"/>
                    <a:gd name="connsiteX2" fmla="*/ 528638 w 528637"/>
                    <a:gd name="connsiteY2" fmla="*/ 163830 h 338137"/>
                    <a:gd name="connsiteX3" fmla="*/ 528638 w 528637"/>
                    <a:gd name="connsiteY3" fmla="*/ 163830 h 338137"/>
                    <a:gd name="connsiteX4" fmla="*/ 528638 w 528637"/>
                    <a:gd name="connsiteY4" fmla="*/ 160020 h 338137"/>
                    <a:gd name="connsiteX5" fmla="*/ 528638 w 528637"/>
                    <a:gd name="connsiteY5" fmla="*/ 160020 h 338137"/>
                    <a:gd name="connsiteX6" fmla="*/ 528638 w 528637"/>
                    <a:gd name="connsiteY6" fmla="*/ 156210 h 338137"/>
                    <a:gd name="connsiteX7" fmla="*/ 528638 w 528637"/>
                    <a:gd name="connsiteY7" fmla="*/ 156210 h 338137"/>
                    <a:gd name="connsiteX8" fmla="*/ 528638 w 528637"/>
                    <a:gd name="connsiteY8" fmla="*/ 152400 h 338137"/>
                    <a:gd name="connsiteX9" fmla="*/ 528638 w 528637"/>
                    <a:gd name="connsiteY9" fmla="*/ 151448 h 338137"/>
                    <a:gd name="connsiteX10" fmla="*/ 528638 w 528637"/>
                    <a:gd name="connsiteY10" fmla="*/ 147638 h 338137"/>
                    <a:gd name="connsiteX11" fmla="*/ 528638 w 528637"/>
                    <a:gd name="connsiteY11" fmla="*/ 147638 h 338137"/>
                    <a:gd name="connsiteX12" fmla="*/ 528638 w 528637"/>
                    <a:gd name="connsiteY12" fmla="*/ 143828 h 338137"/>
                    <a:gd name="connsiteX13" fmla="*/ 528638 w 528637"/>
                    <a:gd name="connsiteY13" fmla="*/ 142875 h 338137"/>
                    <a:gd name="connsiteX14" fmla="*/ 496253 w 528637"/>
                    <a:gd name="connsiteY14" fmla="*/ 65723 h 338137"/>
                    <a:gd name="connsiteX15" fmla="*/ 493395 w 528637"/>
                    <a:gd name="connsiteY15" fmla="*/ 64770 h 338137"/>
                    <a:gd name="connsiteX16" fmla="*/ 492443 w 528637"/>
                    <a:gd name="connsiteY16" fmla="*/ 63818 h 338137"/>
                    <a:gd name="connsiteX17" fmla="*/ 457200 w 528637"/>
                    <a:gd name="connsiteY17" fmla="*/ 30480 h 338137"/>
                    <a:gd name="connsiteX18" fmla="*/ 457200 w 528637"/>
                    <a:gd name="connsiteY18" fmla="*/ 30480 h 338137"/>
                    <a:gd name="connsiteX19" fmla="*/ 454343 w 528637"/>
                    <a:gd name="connsiteY19" fmla="*/ 28575 h 338137"/>
                    <a:gd name="connsiteX20" fmla="*/ 452438 w 528637"/>
                    <a:gd name="connsiteY20" fmla="*/ 27622 h 338137"/>
                    <a:gd name="connsiteX21" fmla="*/ 451485 w 528637"/>
                    <a:gd name="connsiteY21" fmla="*/ 26670 h 338137"/>
                    <a:gd name="connsiteX22" fmla="*/ 362903 w 528637"/>
                    <a:gd name="connsiteY22" fmla="*/ 0 h 338137"/>
                    <a:gd name="connsiteX23" fmla="*/ 362903 w 528637"/>
                    <a:gd name="connsiteY23" fmla="*/ 0 h 338137"/>
                    <a:gd name="connsiteX24" fmla="*/ 359093 w 528637"/>
                    <a:gd name="connsiteY24" fmla="*/ 0 h 338137"/>
                    <a:gd name="connsiteX25" fmla="*/ 359093 w 528637"/>
                    <a:gd name="connsiteY25" fmla="*/ 0 h 338137"/>
                    <a:gd name="connsiteX26" fmla="*/ 355283 w 528637"/>
                    <a:gd name="connsiteY26" fmla="*/ 0 h 338137"/>
                    <a:gd name="connsiteX27" fmla="*/ 355283 w 528637"/>
                    <a:gd name="connsiteY27" fmla="*/ 0 h 338137"/>
                    <a:gd name="connsiteX28" fmla="*/ 351473 w 528637"/>
                    <a:gd name="connsiteY28" fmla="*/ 0 h 338137"/>
                    <a:gd name="connsiteX29" fmla="*/ 351473 w 528637"/>
                    <a:gd name="connsiteY29" fmla="*/ 0 h 338137"/>
                    <a:gd name="connsiteX30" fmla="*/ 347663 w 528637"/>
                    <a:gd name="connsiteY30" fmla="*/ 0 h 338137"/>
                    <a:gd name="connsiteX31" fmla="*/ 347663 w 528637"/>
                    <a:gd name="connsiteY31" fmla="*/ 0 h 338137"/>
                    <a:gd name="connsiteX32" fmla="*/ 346710 w 528637"/>
                    <a:gd name="connsiteY32" fmla="*/ 0 h 338137"/>
                    <a:gd name="connsiteX33" fmla="*/ 342900 w 528637"/>
                    <a:gd name="connsiteY33" fmla="*/ 0 h 338137"/>
                    <a:gd name="connsiteX34" fmla="*/ 342900 w 528637"/>
                    <a:gd name="connsiteY34" fmla="*/ 0 h 338137"/>
                    <a:gd name="connsiteX35" fmla="*/ 339090 w 528637"/>
                    <a:gd name="connsiteY35" fmla="*/ 0 h 338137"/>
                    <a:gd name="connsiteX36" fmla="*/ 338138 w 528637"/>
                    <a:gd name="connsiteY36" fmla="*/ 0 h 338137"/>
                    <a:gd name="connsiteX37" fmla="*/ 335280 w 528637"/>
                    <a:gd name="connsiteY37" fmla="*/ 0 h 338137"/>
                    <a:gd name="connsiteX38" fmla="*/ 333375 w 528637"/>
                    <a:gd name="connsiteY38" fmla="*/ 0 h 338137"/>
                    <a:gd name="connsiteX39" fmla="*/ 330518 w 528637"/>
                    <a:gd name="connsiteY39" fmla="*/ 0 h 338137"/>
                    <a:gd name="connsiteX40" fmla="*/ 330518 w 528637"/>
                    <a:gd name="connsiteY40" fmla="*/ 0 h 338137"/>
                    <a:gd name="connsiteX41" fmla="*/ 327660 w 528637"/>
                    <a:gd name="connsiteY41" fmla="*/ 952 h 338137"/>
                    <a:gd name="connsiteX42" fmla="*/ 327660 w 528637"/>
                    <a:gd name="connsiteY42" fmla="*/ 952 h 338137"/>
                    <a:gd name="connsiteX43" fmla="*/ 324803 w 528637"/>
                    <a:gd name="connsiteY43" fmla="*/ 1905 h 338137"/>
                    <a:gd name="connsiteX44" fmla="*/ 323850 w 528637"/>
                    <a:gd name="connsiteY44" fmla="*/ 1905 h 338137"/>
                    <a:gd name="connsiteX45" fmla="*/ 269558 w 528637"/>
                    <a:gd name="connsiteY45" fmla="*/ 24765 h 338137"/>
                    <a:gd name="connsiteX46" fmla="*/ 241935 w 528637"/>
                    <a:gd name="connsiteY46" fmla="*/ 47625 h 338137"/>
                    <a:gd name="connsiteX47" fmla="*/ 241935 w 528637"/>
                    <a:gd name="connsiteY47" fmla="*/ 47625 h 338137"/>
                    <a:gd name="connsiteX48" fmla="*/ 241935 w 528637"/>
                    <a:gd name="connsiteY48" fmla="*/ 47625 h 338137"/>
                    <a:gd name="connsiteX49" fmla="*/ 200025 w 528637"/>
                    <a:gd name="connsiteY49" fmla="*/ 118110 h 338137"/>
                    <a:gd name="connsiteX50" fmla="*/ 121920 w 528637"/>
                    <a:gd name="connsiteY50" fmla="*/ 212408 h 338137"/>
                    <a:gd name="connsiteX51" fmla="*/ 0 w 528637"/>
                    <a:gd name="connsiteY51" fmla="*/ 231458 h 338137"/>
                    <a:gd name="connsiteX52" fmla="*/ 313373 w 528637"/>
                    <a:gd name="connsiteY52" fmla="*/ 331470 h 338137"/>
                    <a:gd name="connsiteX53" fmla="*/ 313373 w 528637"/>
                    <a:gd name="connsiteY53" fmla="*/ 331470 h 338137"/>
                    <a:gd name="connsiteX54" fmla="*/ 360045 w 528637"/>
                    <a:gd name="connsiteY54" fmla="*/ 338138 h 338137"/>
                    <a:gd name="connsiteX55" fmla="*/ 381953 w 528637"/>
                    <a:gd name="connsiteY55" fmla="*/ 337185 h 338137"/>
                    <a:gd name="connsiteX56" fmla="*/ 441008 w 528637"/>
                    <a:gd name="connsiteY56" fmla="*/ 318135 h 338137"/>
                    <a:gd name="connsiteX57" fmla="*/ 448628 w 528637"/>
                    <a:gd name="connsiteY57" fmla="*/ 313373 h 338137"/>
                    <a:gd name="connsiteX58" fmla="*/ 449580 w 528637"/>
                    <a:gd name="connsiteY58" fmla="*/ 312420 h 338137"/>
                    <a:gd name="connsiteX59" fmla="*/ 452438 w 528637"/>
                    <a:gd name="connsiteY59" fmla="*/ 310515 h 338137"/>
                    <a:gd name="connsiteX60" fmla="*/ 455295 w 528637"/>
                    <a:gd name="connsiteY60" fmla="*/ 308610 h 338137"/>
                    <a:gd name="connsiteX61" fmla="*/ 456247 w 528637"/>
                    <a:gd name="connsiteY61" fmla="*/ 308610 h 338137"/>
                    <a:gd name="connsiteX62" fmla="*/ 503872 w 528637"/>
                    <a:gd name="connsiteY62" fmla="*/ 260033 h 338137"/>
                    <a:gd name="connsiteX63" fmla="*/ 504825 w 528637"/>
                    <a:gd name="connsiteY63" fmla="*/ 259080 h 338137"/>
                    <a:gd name="connsiteX64" fmla="*/ 505778 w 528637"/>
                    <a:gd name="connsiteY64" fmla="*/ 257175 h 338137"/>
                    <a:gd name="connsiteX65" fmla="*/ 507683 w 528637"/>
                    <a:gd name="connsiteY65" fmla="*/ 254318 h 338137"/>
                    <a:gd name="connsiteX66" fmla="*/ 507683 w 528637"/>
                    <a:gd name="connsiteY66" fmla="*/ 253365 h 338137"/>
                    <a:gd name="connsiteX67" fmla="*/ 528638 w 528637"/>
                    <a:gd name="connsiteY67" fmla="*/ 168593 h 338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</a:cxnLst>
                  <a:rect l="l" t="t" r="r" b="b"/>
                  <a:pathLst>
                    <a:path w="528637" h="338137">
                      <a:moveTo>
                        <a:pt x="528638" y="168593"/>
                      </a:moveTo>
                      <a:lnTo>
                        <a:pt x="528638" y="168593"/>
                      </a:lnTo>
                      <a:lnTo>
                        <a:pt x="528638" y="163830"/>
                      </a:lnTo>
                      <a:lnTo>
                        <a:pt x="528638" y="163830"/>
                      </a:lnTo>
                      <a:lnTo>
                        <a:pt x="528638" y="160020"/>
                      </a:lnTo>
                      <a:lnTo>
                        <a:pt x="528638" y="160020"/>
                      </a:lnTo>
                      <a:lnTo>
                        <a:pt x="528638" y="156210"/>
                      </a:lnTo>
                      <a:lnTo>
                        <a:pt x="528638" y="156210"/>
                      </a:lnTo>
                      <a:lnTo>
                        <a:pt x="528638" y="152400"/>
                      </a:lnTo>
                      <a:lnTo>
                        <a:pt x="528638" y="151448"/>
                      </a:lnTo>
                      <a:lnTo>
                        <a:pt x="528638" y="147638"/>
                      </a:lnTo>
                      <a:lnTo>
                        <a:pt x="528638" y="147638"/>
                      </a:lnTo>
                      <a:lnTo>
                        <a:pt x="528638" y="143828"/>
                      </a:lnTo>
                      <a:lnTo>
                        <a:pt x="528638" y="142875"/>
                      </a:lnTo>
                      <a:cubicBezTo>
                        <a:pt x="524828" y="114300"/>
                        <a:pt x="513397" y="87630"/>
                        <a:pt x="496253" y="65723"/>
                      </a:cubicBezTo>
                      <a:lnTo>
                        <a:pt x="493395" y="64770"/>
                      </a:lnTo>
                      <a:lnTo>
                        <a:pt x="492443" y="63818"/>
                      </a:lnTo>
                      <a:cubicBezTo>
                        <a:pt x="481965" y="50483"/>
                        <a:pt x="470535" y="40005"/>
                        <a:pt x="457200" y="30480"/>
                      </a:cubicBezTo>
                      <a:lnTo>
                        <a:pt x="457200" y="30480"/>
                      </a:lnTo>
                      <a:lnTo>
                        <a:pt x="454343" y="28575"/>
                      </a:lnTo>
                      <a:lnTo>
                        <a:pt x="452438" y="27622"/>
                      </a:lnTo>
                      <a:lnTo>
                        <a:pt x="451485" y="26670"/>
                      </a:lnTo>
                      <a:cubicBezTo>
                        <a:pt x="425768" y="10477"/>
                        <a:pt x="396240" y="0"/>
                        <a:pt x="362903" y="0"/>
                      </a:cubicBezTo>
                      <a:lnTo>
                        <a:pt x="362903" y="0"/>
                      </a:lnTo>
                      <a:lnTo>
                        <a:pt x="359093" y="0"/>
                      </a:lnTo>
                      <a:lnTo>
                        <a:pt x="359093" y="0"/>
                      </a:lnTo>
                      <a:lnTo>
                        <a:pt x="355283" y="0"/>
                      </a:lnTo>
                      <a:lnTo>
                        <a:pt x="355283" y="0"/>
                      </a:lnTo>
                      <a:lnTo>
                        <a:pt x="351473" y="0"/>
                      </a:lnTo>
                      <a:lnTo>
                        <a:pt x="351473" y="0"/>
                      </a:lnTo>
                      <a:lnTo>
                        <a:pt x="347663" y="0"/>
                      </a:lnTo>
                      <a:lnTo>
                        <a:pt x="347663" y="0"/>
                      </a:lnTo>
                      <a:lnTo>
                        <a:pt x="346710" y="0"/>
                      </a:lnTo>
                      <a:lnTo>
                        <a:pt x="342900" y="0"/>
                      </a:lnTo>
                      <a:lnTo>
                        <a:pt x="342900" y="0"/>
                      </a:lnTo>
                      <a:cubicBezTo>
                        <a:pt x="341948" y="0"/>
                        <a:pt x="340043" y="0"/>
                        <a:pt x="339090" y="0"/>
                      </a:cubicBezTo>
                      <a:lnTo>
                        <a:pt x="338138" y="0"/>
                      </a:lnTo>
                      <a:lnTo>
                        <a:pt x="335280" y="0"/>
                      </a:lnTo>
                      <a:lnTo>
                        <a:pt x="333375" y="0"/>
                      </a:lnTo>
                      <a:lnTo>
                        <a:pt x="330518" y="0"/>
                      </a:lnTo>
                      <a:lnTo>
                        <a:pt x="330518" y="0"/>
                      </a:lnTo>
                      <a:lnTo>
                        <a:pt x="327660" y="952"/>
                      </a:lnTo>
                      <a:lnTo>
                        <a:pt x="327660" y="952"/>
                      </a:lnTo>
                      <a:lnTo>
                        <a:pt x="324803" y="1905"/>
                      </a:lnTo>
                      <a:lnTo>
                        <a:pt x="323850" y="1905"/>
                      </a:lnTo>
                      <a:cubicBezTo>
                        <a:pt x="303848" y="6667"/>
                        <a:pt x="285750" y="14288"/>
                        <a:pt x="269558" y="24765"/>
                      </a:cubicBezTo>
                      <a:cubicBezTo>
                        <a:pt x="258128" y="31433"/>
                        <a:pt x="249555" y="39053"/>
                        <a:pt x="241935" y="47625"/>
                      </a:cubicBezTo>
                      <a:lnTo>
                        <a:pt x="241935" y="47625"/>
                      </a:lnTo>
                      <a:lnTo>
                        <a:pt x="241935" y="47625"/>
                      </a:lnTo>
                      <a:cubicBezTo>
                        <a:pt x="222885" y="66675"/>
                        <a:pt x="207645" y="91440"/>
                        <a:pt x="200025" y="118110"/>
                      </a:cubicBezTo>
                      <a:cubicBezTo>
                        <a:pt x="184785" y="151448"/>
                        <a:pt x="168593" y="185738"/>
                        <a:pt x="121920" y="212408"/>
                      </a:cubicBezTo>
                      <a:cubicBezTo>
                        <a:pt x="75248" y="240030"/>
                        <a:pt x="37148" y="235268"/>
                        <a:pt x="0" y="231458"/>
                      </a:cubicBezTo>
                      <a:lnTo>
                        <a:pt x="313373" y="331470"/>
                      </a:lnTo>
                      <a:lnTo>
                        <a:pt x="313373" y="331470"/>
                      </a:lnTo>
                      <a:cubicBezTo>
                        <a:pt x="327660" y="335280"/>
                        <a:pt x="343853" y="338138"/>
                        <a:pt x="360045" y="338138"/>
                      </a:cubicBezTo>
                      <a:cubicBezTo>
                        <a:pt x="367665" y="338138"/>
                        <a:pt x="374333" y="338138"/>
                        <a:pt x="381953" y="337185"/>
                      </a:cubicBezTo>
                      <a:cubicBezTo>
                        <a:pt x="400050" y="335280"/>
                        <a:pt x="419100" y="330518"/>
                        <a:pt x="441008" y="318135"/>
                      </a:cubicBezTo>
                      <a:cubicBezTo>
                        <a:pt x="443865" y="316230"/>
                        <a:pt x="446722" y="315278"/>
                        <a:pt x="448628" y="313373"/>
                      </a:cubicBezTo>
                      <a:lnTo>
                        <a:pt x="449580" y="312420"/>
                      </a:lnTo>
                      <a:lnTo>
                        <a:pt x="452438" y="310515"/>
                      </a:lnTo>
                      <a:lnTo>
                        <a:pt x="455295" y="308610"/>
                      </a:lnTo>
                      <a:lnTo>
                        <a:pt x="456247" y="308610"/>
                      </a:lnTo>
                      <a:cubicBezTo>
                        <a:pt x="476250" y="295275"/>
                        <a:pt x="491490" y="279083"/>
                        <a:pt x="503872" y="260033"/>
                      </a:cubicBezTo>
                      <a:lnTo>
                        <a:pt x="504825" y="259080"/>
                      </a:lnTo>
                      <a:lnTo>
                        <a:pt x="505778" y="257175"/>
                      </a:lnTo>
                      <a:lnTo>
                        <a:pt x="507683" y="254318"/>
                      </a:lnTo>
                      <a:lnTo>
                        <a:pt x="507683" y="253365"/>
                      </a:lnTo>
                      <a:cubicBezTo>
                        <a:pt x="520065" y="228600"/>
                        <a:pt x="528638" y="200025"/>
                        <a:pt x="528638" y="168593"/>
                      </a:cubicBezTo>
                    </a:path>
                  </a:pathLst>
                </a:custGeom>
                <a:solidFill>
                  <a:srgbClr val="BFC3C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noProof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endParaRPr>
                </a:p>
              </p:txBody>
            </p:sp>
            <p:sp>
              <p:nvSpPr>
                <p:cNvPr id="23" name="Freeform: Shape 71">
                  <a:extLst>
                    <a:ext uri="{FF2B5EF4-FFF2-40B4-BE49-F238E27FC236}">
                      <a16:creationId xmlns:a16="http://schemas.microsoft.com/office/drawing/2014/main" id="{E289F372-7D70-4350-2549-90CE11A6ACE1}"/>
                    </a:ext>
                  </a:extLst>
                </p:cNvPr>
                <p:cNvSpPr/>
                <p:nvPr/>
              </p:nvSpPr>
              <p:spPr>
                <a:xfrm>
                  <a:off x="5289454" y="2761696"/>
                  <a:ext cx="339089" cy="339089"/>
                </a:xfrm>
                <a:custGeom>
                  <a:avLst/>
                  <a:gdLst>
                    <a:gd name="connsiteX0" fmla="*/ 169545 w 339089"/>
                    <a:gd name="connsiteY0" fmla="*/ 339090 h 339089"/>
                    <a:gd name="connsiteX1" fmla="*/ 339090 w 339089"/>
                    <a:gd name="connsiteY1" fmla="*/ 169545 h 339089"/>
                    <a:gd name="connsiteX2" fmla="*/ 169545 w 339089"/>
                    <a:gd name="connsiteY2" fmla="*/ 0 h 339089"/>
                    <a:gd name="connsiteX3" fmla="*/ 0 w 339089"/>
                    <a:gd name="connsiteY3" fmla="*/ 169545 h 339089"/>
                    <a:gd name="connsiteX4" fmla="*/ 169545 w 339089"/>
                    <a:gd name="connsiteY4" fmla="*/ 339090 h 339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9089" h="339089">
                      <a:moveTo>
                        <a:pt x="169545" y="339090"/>
                      </a:moveTo>
                      <a:cubicBezTo>
                        <a:pt x="262890" y="339090"/>
                        <a:pt x="339090" y="262890"/>
                        <a:pt x="339090" y="169545"/>
                      </a:cubicBezTo>
                      <a:cubicBezTo>
                        <a:pt x="339090" y="76200"/>
                        <a:pt x="262890" y="0"/>
                        <a:pt x="169545" y="0"/>
                      </a:cubicBezTo>
                      <a:cubicBezTo>
                        <a:pt x="76200" y="0"/>
                        <a:pt x="0" y="76200"/>
                        <a:pt x="0" y="169545"/>
                      </a:cubicBezTo>
                      <a:cubicBezTo>
                        <a:pt x="952" y="262890"/>
                        <a:pt x="76200" y="339090"/>
                        <a:pt x="169545" y="339090"/>
                      </a:cubicBezTo>
                    </a:path>
                  </a:pathLst>
                </a:custGeom>
                <a:solidFill>
                  <a:srgbClr val="BFC3C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noProof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endParaRPr>
                </a:p>
              </p:txBody>
            </p:sp>
          </p:grpSp>
        </p:grpSp>
      </p:grpSp>
      <p:sp>
        <p:nvSpPr>
          <p:cNvPr id="6" name="Platshållare för bild 5">
            <a:extLst>
              <a:ext uri="{FF2B5EF4-FFF2-40B4-BE49-F238E27FC236}">
                <a16:creationId xmlns:a16="http://schemas.microsoft.com/office/drawing/2014/main" id="{08CC9395-4CCD-7D93-DE5B-29A9B5C97BD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323324" y="1424421"/>
            <a:ext cx="4009159" cy="400915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76200">
            <a:solidFill>
              <a:schemeClr val="bg2"/>
            </a:solidFill>
            <a:miter lim="800000"/>
          </a:ln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64" name="Platshållare för text 9">
            <a:extLst>
              <a:ext uri="{FF2B5EF4-FFF2-40B4-BE49-F238E27FC236}">
                <a16:creationId xmlns:a16="http://schemas.microsoft.com/office/drawing/2014/main" id="{BD847414-4CFA-57AA-437D-CF4EDE95339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12350" y="3680552"/>
            <a:ext cx="4786312" cy="513438"/>
          </a:xfrm>
        </p:spPr>
        <p:txBody>
          <a:bodyPr anchor="t"/>
          <a:lstStyle>
            <a:lvl1pPr marL="0" indent="0">
              <a:buNone/>
              <a:defRPr sz="2000" b="0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GB" noProof="0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040536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3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46E342C-A4AD-C189-971C-34CFC30A1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0045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6E342C-A4AD-C189-971C-34CFC30A1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Picture Placeholder 7">
            <a:extLst>
              <a:ext uri="{FF2B5EF4-FFF2-40B4-BE49-F238E27FC236}">
                <a16:creationId xmlns:a16="http://schemas.microsoft.com/office/drawing/2014/main" id="{E573E5C6-388E-4AB6-BE6E-5E9B04B08F7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715014" y="1288499"/>
            <a:ext cx="5616000" cy="3583537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56" name="Google Shape;270;p34">
            <a:extLst>
              <a:ext uri="{FF2B5EF4-FFF2-40B4-BE49-F238E27FC236}">
                <a16:creationId xmlns:a16="http://schemas.microsoft.com/office/drawing/2014/main" id="{F7AC8F16-5442-4250-8161-09DB2D7D5423}"/>
              </a:ext>
            </a:extLst>
          </p:cNvPr>
          <p:cNvSpPr/>
          <p:nvPr userDrawn="1"/>
        </p:nvSpPr>
        <p:spPr>
          <a:xfrm>
            <a:off x="5471516" y="1062037"/>
            <a:ext cx="6080739" cy="4733925"/>
          </a:xfrm>
          <a:custGeom>
            <a:avLst/>
            <a:gdLst/>
            <a:ahLst/>
            <a:cxnLst/>
            <a:rect l="l" t="t" r="r" b="b"/>
            <a:pathLst>
              <a:path w="143434" h="111665" extrusionOk="0">
                <a:moveTo>
                  <a:pt x="71751" y="2308"/>
                </a:moveTo>
                <a:lnTo>
                  <a:pt x="71887" y="2376"/>
                </a:lnTo>
                <a:lnTo>
                  <a:pt x="72091" y="2444"/>
                </a:lnTo>
                <a:lnTo>
                  <a:pt x="72159" y="2647"/>
                </a:lnTo>
                <a:lnTo>
                  <a:pt x="72226" y="2783"/>
                </a:lnTo>
                <a:lnTo>
                  <a:pt x="72159" y="2987"/>
                </a:lnTo>
                <a:lnTo>
                  <a:pt x="72091" y="3190"/>
                </a:lnTo>
                <a:lnTo>
                  <a:pt x="71887" y="3258"/>
                </a:lnTo>
                <a:lnTo>
                  <a:pt x="71751" y="3326"/>
                </a:lnTo>
                <a:lnTo>
                  <a:pt x="71548" y="3258"/>
                </a:lnTo>
                <a:lnTo>
                  <a:pt x="71344" y="3190"/>
                </a:lnTo>
                <a:lnTo>
                  <a:pt x="71276" y="2987"/>
                </a:lnTo>
                <a:lnTo>
                  <a:pt x="71208" y="2783"/>
                </a:lnTo>
                <a:lnTo>
                  <a:pt x="71276" y="2647"/>
                </a:lnTo>
                <a:lnTo>
                  <a:pt x="71344" y="2444"/>
                </a:lnTo>
                <a:lnTo>
                  <a:pt x="71548" y="2376"/>
                </a:lnTo>
                <a:lnTo>
                  <a:pt x="71751" y="2308"/>
                </a:lnTo>
                <a:close/>
                <a:moveTo>
                  <a:pt x="137528" y="5906"/>
                </a:moveTo>
                <a:lnTo>
                  <a:pt x="137596" y="5974"/>
                </a:lnTo>
                <a:lnTo>
                  <a:pt x="137596" y="89604"/>
                </a:lnTo>
                <a:lnTo>
                  <a:pt x="5906" y="89604"/>
                </a:lnTo>
                <a:lnTo>
                  <a:pt x="5906" y="5974"/>
                </a:lnTo>
                <a:lnTo>
                  <a:pt x="5906" y="5906"/>
                </a:lnTo>
                <a:close/>
                <a:moveTo>
                  <a:pt x="3530" y="0"/>
                </a:moveTo>
                <a:lnTo>
                  <a:pt x="3191" y="68"/>
                </a:lnTo>
                <a:lnTo>
                  <a:pt x="2444" y="339"/>
                </a:lnTo>
                <a:lnTo>
                  <a:pt x="1766" y="679"/>
                </a:lnTo>
                <a:lnTo>
                  <a:pt x="1155" y="1154"/>
                </a:lnTo>
                <a:lnTo>
                  <a:pt x="679" y="1765"/>
                </a:lnTo>
                <a:lnTo>
                  <a:pt x="272" y="2444"/>
                </a:lnTo>
                <a:lnTo>
                  <a:pt x="69" y="3190"/>
                </a:lnTo>
                <a:lnTo>
                  <a:pt x="1" y="3598"/>
                </a:lnTo>
                <a:lnTo>
                  <a:pt x="1" y="4005"/>
                </a:lnTo>
                <a:lnTo>
                  <a:pt x="1" y="91572"/>
                </a:lnTo>
                <a:lnTo>
                  <a:pt x="1" y="91979"/>
                </a:lnTo>
                <a:lnTo>
                  <a:pt x="69" y="92319"/>
                </a:lnTo>
                <a:lnTo>
                  <a:pt x="272" y="93065"/>
                </a:lnTo>
                <a:lnTo>
                  <a:pt x="679" y="93744"/>
                </a:lnTo>
                <a:lnTo>
                  <a:pt x="1155" y="94355"/>
                </a:lnTo>
                <a:lnTo>
                  <a:pt x="1766" y="94830"/>
                </a:lnTo>
                <a:lnTo>
                  <a:pt x="2444" y="95238"/>
                </a:lnTo>
                <a:lnTo>
                  <a:pt x="3191" y="95441"/>
                </a:lnTo>
                <a:lnTo>
                  <a:pt x="3530" y="95509"/>
                </a:lnTo>
                <a:lnTo>
                  <a:pt x="139904" y="95509"/>
                </a:lnTo>
                <a:lnTo>
                  <a:pt x="140311" y="95441"/>
                </a:lnTo>
                <a:lnTo>
                  <a:pt x="141058" y="95238"/>
                </a:lnTo>
                <a:lnTo>
                  <a:pt x="141737" y="94830"/>
                </a:lnTo>
                <a:lnTo>
                  <a:pt x="142280" y="94355"/>
                </a:lnTo>
                <a:lnTo>
                  <a:pt x="142755" y="93744"/>
                </a:lnTo>
                <a:lnTo>
                  <a:pt x="143162" y="93065"/>
                </a:lnTo>
                <a:lnTo>
                  <a:pt x="143366" y="92319"/>
                </a:lnTo>
                <a:lnTo>
                  <a:pt x="143434" y="91979"/>
                </a:lnTo>
                <a:lnTo>
                  <a:pt x="143434" y="91572"/>
                </a:lnTo>
                <a:lnTo>
                  <a:pt x="143434" y="4005"/>
                </a:lnTo>
                <a:lnTo>
                  <a:pt x="143434" y="3598"/>
                </a:lnTo>
                <a:lnTo>
                  <a:pt x="143366" y="3190"/>
                </a:lnTo>
                <a:lnTo>
                  <a:pt x="143162" y="2444"/>
                </a:lnTo>
                <a:lnTo>
                  <a:pt x="142755" y="1765"/>
                </a:lnTo>
                <a:lnTo>
                  <a:pt x="142280" y="1154"/>
                </a:lnTo>
                <a:lnTo>
                  <a:pt x="141737" y="679"/>
                </a:lnTo>
                <a:lnTo>
                  <a:pt x="141058" y="339"/>
                </a:lnTo>
                <a:lnTo>
                  <a:pt x="140311" y="68"/>
                </a:lnTo>
                <a:lnTo>
                  <a:pt x="139904" y="0"/>
                </a:lnTo>
                <a:close/>
                <a:moveTo>
                  <a:pt x="55324" y="95713"/>
                </a:moveTo>
                <a:lnTo>
                  <a:pt x="55052" y="98971"/>
                </a:lnTo>
                <a:lnTo>
                  <a:pt x="54713" y="102297"/>
                </a:lnTo>
                <a:lnTo>
                  <a:pt x="54374" y="105284"/>
                </a:lnTo>
                <a:lnTo>
                  <a:pt x="53966" y="107388"/>
                </a:lnTo>
                <a:lnTo>
                  <a:pt x="53763" y="108203"/>
                </a:lnTo>
                <a:lnTo>
                  <a:pt x="53627" y="108746"/>
                </a:lnTo>
                <a:lnTo>
                  <a:pt x="53423" y="109153"/>
                </a:lnTo>
                <a:lnTo>
                  <a:pt x="53220" y="109357"/>
                </a:lnTo>
                <a:lnTo>
                  <a:pt x="52677" y="109493"/>
                </a:lnTo>
                <a:lnTo>
                  <a:pt x="51794" y="109696"/>
                </a:lnTo>
                <a:lnTo>
                  <a:pt x="49690" y="110036"/>
                </a:lnTo>
                <a:lnTo>
                  <a:pt x="48061" y="110307"/>
                </a:lnTo>
                <a:lnTo>
                  <a:pt x="47450" y="110443"/>
                </a:lnTo>
                <a:lnTo>
                  <a:pt x="47110" y="110511"/>
                </a:lnTo>
                <a:lnTo>
                  <a:pt x="47042" y="110579"/>
                </a:lnTo>
                <a:lnTo>
                  <a:pt x="47042" y="110783"/>
                </a:lnTo>
                <a:lnTo>
                  <a:pt x="47110" y="110850"/>
                </a:lnTo>
                <a:lnTo>
                  <a:pt x="47585" y="110918"/>
                </a:lnTo>
                <a:lnTo>
                  <a:pt x="48400" y="110986"/>
                </a:lnTo>
                <a:lnTo>
                  <a:pt x="51387" y="111054"/>
                </a:lnTo>
                <a:lnTo>
                  <a:pt x="56071" y="111122"/>
                </a:lnTo>
                <a:lnTo>
                  <a:pt x="87092" y="111122"/>
                </a:lnTo>
                <a:lnTo>
                  <a:pt x="91708" y="111054"/>
                </a:lnTo>
                <a:lnTo>
                  <a:pt x="94695" y="110986"/>
                </a:lnTo>
                <a:lnTo>
                  <a:pt x="95578" y="110918"/>
                </a:lnTo>
                <a:lnTo>
                  <a:pt x="96053" y="110850"/>
                </a:lnTo>
                <a:lnTo>
                  <a:pt x="96121" y="110783"/>
                </a:lnTo>
                <a:lnTo>
                  <a:pt x="96121" y="110579"/>
                </a:lnTo>
                <a:lnTo>
                  <a:pt x="96053" y="110511"/>
                </a:lnTo>
                <a:lnTo>
                  <a:pt x="95713" y="110443"/>
                </a:lnTo>
                <a:lnTo>
                  <a:pt x="95102" y="110307"/>
                </a:lnTo>
                <a:lnTo>
                  <a:pt x="93473" y="110036"/>
                </a:lnTo>
                <a:lnTo>
                  <a:pt x="91369" y="109696"/>
                </a:lnTo>
                <a:lnTo>
                  <a:pt x="90487" y="109493"/>
                </a:lnTo>
                <a:lnTo>
                  <a:pt x="89943" y="109357"/>
                </a:lnTo>
                <a:lnTo>
                  <a:pt x="89740" y="109153"/>
                </a:lnTo>
                <a:lnTo>
                  <a:pt x="89536" y="108746"/>
                </a:lnTo>
                <a:lnTo>
                  <a:pt x="89333" y="108203"/>
                </a:lnTo>
                <a:lnTo>
                  <a:pt x="89197" y="107388"/>
                </a:lnTo>
                <a:lnTo>
                  <a:pt x="88789" y="105284"/>
                </a:lnTo>
                <a:lnTo>
                  <a:pt x="88382" y="102297"/>
                </a:lnTo>
                <a:lnTo>
                  <a:pt x="88043" y="98971"/>
                </a:lnTo>
                <a:lnTo>
                  <a:pt x="87839" y="95713"/>
                </a:lnTo>
                <a:close/>
                <a:moveTo>
                  <a:pt x="47450" y="111054"/>
                </a:moveTo>
                <a:lnTo>
                  <a:pt x="47450" y="111122"/>
                </a:lnTo>
                <a:lnTo>
                  <a:pt x="47450" y="111393"/>
                </a:lnTo>
                <a:lnTo>
                  <a:pt x="47518" y="111461"/>
                </a:lnTo>
                <a:lnTo>
                  <a:pt x="48807" y="111529"/>
                </a:lnTo>
                <a:lnTo>
                  <a:pt x="52473" y="111597"/>
                </a:lnTo>
                <a:lnTo>
                  <a:pt x="62384" y="111665"/>
                </a:lnTo>
                <a:lnTo>
                  <a:pt x="80779" y="111665"/>
                </a:lnTo>
                <a:lnTo>
                  <a:pt x="90622" y="111597"/>
                </a:lnTo>
                <a:lnTo>
                  <a:pt x="94356" y="111529"/>
                </a:lnTo>
                <a:lnTo>
                  <a:pt x="95646" y="111461"/>
                </a:lnTo>
                <a:lnTo>
                  <a:pt x="95713" y="111393"/>
                </a:lnTo>
                <a:lnTo>
                  <a:pt x="95713" y="111122"/>
                </a:lnTo>
                <a:lnTo>
                  <a:pt x="95646" y="111054"/>
                </a:lnTo>
                <a:lnTo>
                  <a:pt x="94084" y="111122"/>
                </a:lnTo>
                <a:lnTo>
                  <a:pt x="91233" y="111190"/>
                </a:lnTo>
                <a:lnTo>
                  <a:pt x="80847" y="111258"/>
                </a:lnTo>
                <a:lnTo>
                  <a:pt x="62316" y="111258"/>
                </a:lnTo>
                <a:lnTo>
                  <a:pt x="51930" y="111190"/>
                </a:lnTo>
                <a:lnTo>
                  <a:pt x="49079" y="111122"/>
                </a:lnTo>
                <a:lnTo>
                  <a:pt x="47518" y="11105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 noProof="0"/>
          </a:p>
        </p:txBody>
      </p:sp>
      <p:sp>
        <p:nvSpPr>
          <p:cNvPr id="2" name="Platshållare för innehåll 2">
            <a:extLst>
              <a:ext uri="{FF2B5EF4-FFF2-40B4-BE49-F238E27FC236}">
                <a16:creationId xmlns:a16="http://schemas.microsoft.com/office/drawing/2014/main" id="{E4783861-A40F-9D7D-2BEF-C47209162A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45" y="1843087"/>
            <a:ext cx="4483798" cy="4333875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99A90DC5-9D21-8B30-4D83-CD3EC3660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45" y="368301"/>
            <a:ext cx="4483798" cy="1255092"/>
          </a:xfrm>
        </p:spPr>
        <p:txBody>
          <a:bodyPr/>
          <a:lstStyle/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16419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FAS template 5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1C890CDE-2624-4FC3-9F23-FDBD165D07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0"/>
            <a:ext cx="12192000" cy="803275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 sz="3200" b="1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pic>
        <p:nvPicPr>
          <p:cNvPr id="4" name="Picture 3" descr="A red circle with white text&#10;&#10;Description automatically generated with low confidence">
            <a:extLst>
              <a:ext uri="{FF2B5EF4-FFF2-40B4-BE49-F238E27FC236}">
                <a16:creationId xmlns:a16="http://schemas.microsoft.com/office/drawing/2014/main" id="{8AEB6C2A-34A7-BB32-2270-7215807D7E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999" y="5730872"/>
            <a:ext cx="965201" cy="965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96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  <p15:guide id="2" orient="horz" pos="1412">
          <p15:clr>
            <a:srgbClr val="FBAE40"/>
          </p15:clr>
        </p15:guide>
        <p15:guide id="3" pos="48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w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58AD1EB-C213-97CE-19A9-CA7E434AC4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6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8AD1EB-C213-97CE-19A9-CA7E434AC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D3F927C8-267A-7AC0-1479-1F3BA53556C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628775"/>
            <a:ext cx="12192000" cy="455295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EB7C1E6E-ED0B-C976-37C2-B9A19CF3B0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8" y="197265"/>
            <a:ext cx="10944225" cy="992904"/>
          </a:xfrm>
        </p:spPr>
        <p:txBody>
          <a:bodyPr vert="horz" anchor="b"/>
          <a:lstStyle>
            <a:lvl1pPr algn="l">
              <a:lnSpc>
                <a:spcPct val="85000"/>
              </a:lnSpc>
              <a:defRPr sz="3300">
                <a:solidFill>
                  <a:schemeClr val="accent1"/>
                </a:solidFill>
              </a:defRPr>
            </a:lvl1pPr>
          </a:lstStyle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ED8B5B19-6B24-9F7F-A57D-7854F2E915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90" y="1190167"/>
            <a:ext cx="10944224" cy="53702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Georgia" panose="02040502050405020303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noProof="0"/>
              <a:t>Klicka här för att ändra mall för underrubrikformat</a:t>
            </a:r>
            <a:endParaRPr lang="en-GB" noProof="0" dirty="0"/>
          </a:p>
        </p:txBody>
      </p:sp>
      <p:sp>
        <p:nvSpPr>
          <p:cNvPr id="15" name="Platshållare för text 29">
            <a:extLst>
              <a:ext uri="{FF2B5EF4-FFF2-40B4-BE49-F238E27FC236}">
                <a16:creationId xmlns:a16="http://schemas.microsoft.com/office/drawing/2014/main" id="{A11FBB60-0E6D-5771-EFDA-5626A057CE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6375" y="6401196"/>
            <a:ext cx="6281738" cy="274638"/>
          </a:xfrm>
        </p:spPr>
        <p:txBody>
          <a:bodyPr anchor="ctr"/>
          <a:lstStyle>
            <a:lvl1pPr marL="0" indent="0" algn="r">
              <a:buNone/>
              <a:defRPr sz="1200">
                <a:latin typeface="Georgia" panose="02040502050405020303" pitchFamily="18" charset="0"/>
              </a:defRPr>
            </a:lvl1pPr>
          </a:lstStyle>
          <a:p>
            <a:pPr lvl="0"/>
            <a:r>
              <a:rPr lang="en-GB" noProof="0" dirty="0" err="1"/>
              <a:t>Namn</a:t>
            </a:r>
            <a:r>
              <a:rPr lang="en-GB" noProof="0" dirty="0"/>
              <a:t> – Datum – Forum </a:t>
            </a:r>
          </a:p>
        </p:txBody>
      </p:sp>
    </p:spTree>
    <p:extLst>
      <p:ext uri="{BB962C8B-B14F-4D97-AF65-F5344CB8AC3E}">
        <p14:creationId xmlns:p14="http://schemas.microsoft.com/office/powerpoint/2010/main" val="4143314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58AD1EB-C213-97CE-19A9-CA7E434AC4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7014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8AD1EB-C213-97CE-19A9-CA7E434AC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EB7C1E6E-ED0B-C976-37C2-B9A19CF3B0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8" y="4564655"/>
            <a:ext cx="10944225" cy="1547622"/>
          </a:xfrm>
        </p:spPr>
        <p:txBody>
          <a:bodyPr vert="horz" anchor="ctr"/>
          <a:lstStyle>
            <a:lvl1pPr algn="l">
              <a:lnSpc>
                <a:spcPct val="85000"/>
              </a:lnSpc>
              <a:defRPr sz="5300">
                <a:solidFill>
                  <a:schemeClr val="accent1"/>
                </a:solidFill>
              </a:defRPr>
            </a:lvl1pPr>
          </a:lstStyle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  <p:sp>
        <p:nvSpPr>
          <p:cNvPr id="5" name="Platshållare för bild 9">
            <a:extLst>
              <a:ext uri="{FF2B5EF4-FFF2-40B4-BE49-F238E27FC236}">
                <a16:creationId xmlns:a16="http://schemas.microsoft.com/office/drawing/2014/main" id="{53855A6D-910D-5EEB-59D9-5D890312C64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340506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12" name="Platshållare för text 29">
            <a:extLst>
              <a:ext uri="{FF2B5EF4-FFF2-40B4-BE49-F238E27FC236}">
                <a16:creationId xmlns:a16="http://schemas.microsoft.com/office/drawing/2014/main" id="{837FFACE-B161-8C5C-7B17-ACC91F87CC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6375" y="6401196"/>
            <a:ext cx="6281738" cy="274638"/>
          </a:xfrm>
        </p:spPr>
        <p:txBody>
          <a:bodyPr anchor="ctr"/>
          <a:lstStyle>
            <a:lvl1pPr marL="0" indent="0" algn="r">
              <a:buNone/>
              <a:defRPr sz="1200">
                <a:latin typeface="Georgia" panose="02040502050405020303" pitchFamily="18" charset="0"/>
              </a:defRPr>
            </a:lvl1pPr>
          </a:lstStyle>
          <a:p>
            <a:pPr lvl="0"/>
            <a:r>
              <a:rPr lang="en-GB" noProof="0" dirty="0" err="1"/>
              <a:t>Namn</a:t>
            </a:r>
            <a:r>
              <a:rPr lang="en-GB" noProof="0" dirty="0"/>
              <a:t> – Datum – Forum </a:t>
            </a:r>
          </a:p>
        </p:txBody>
      </p:sp>
    </p:spTree>
    <p:extLst>
      <p:ext uri="{BB962C8B-B14F-4D97-AF65-F5344CB8AC3E}">
        <p14:creationId xmlns:p14="http://schemas.microsoft.com/office/powerpoint/2010/main" val="3933526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58AD1EB-C213-97CE-19A9-CA7E434AC4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0702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8AD1EB-C213-97CE-19A9-CA7E434AC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D3F927C8-267A-7AC0-1479-1F3BA53556C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628775"/>
            <a:ext cx="12192000" cy="455295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EB7C1E6E-ED0B-C976-37C2-B9A19CF3B0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439" y="153723"/>
            <a:ext cx="11353801" cy="1547622"/>
          </a:xfrm>
        </p:spPr>
        <p:txBody>
          <a:bodyPr vert="horz" anchor="ctr"/>
          <a:lstStyle>
            <a:lvl1pPr algn="l">
              <a:lnSpc>
                <a:spcPct val="85000"/>
              </a:lnSpc>
              <a:defRPr sz="5300">
                <a:solidFill>
                  <a:schemeClr val="accent1"/>
                </a:solidFill>
              </a:defRPr>
            </a:lvl1pPr>
          </a:lstStyle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  <p:sp>
        <p:nvSpPr>
          <p:cNvPr id="14" name="Platshållare för text 29">
            <a:extLst>
              <a:ext uri="{FF2B5EF4-FFF2-40B4-BE49-F238E27FC236}">
                <a16:creationId xmlns:a16="http://schemas.microsoft.com/office/drawing/2014/main" id="{758DF132-A905-6222-6D5E-09C831FCDC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6375" y="6401196"/>
            <a:ext cx="6281738" cy="274638"/>
          </a:xfrm>
        </p:spPr>
        <p:txBody>
          <a:bodyPr anchor="ctr"/>
          <a:lstStyle>
            <a:lvl1pPr marL="0" indent="0" algn="r">
              <a:buNone/>
              <a:defRPr sz="1200">
                <a:latin typeface="Georgia" panose="02040502050405020303" pitchFamily="18" charset="0"/>
              </a:defRPr>
            </a:lvl1pPr>
          </a:lstStyle>
          <a:p>
            <a:pPr lvl="0"/>
            <a:r>
              <a:rPr lang="en-GB" noProof="0" dirty="0" err="1"/>
              <a:t>Namn</a:t>
            </a:r>
            <a:r>
              <a:rPr lang="en-GB" noProof="0" dirty="0"/>
              <a:t> – Datum – Forum </a:t>
            </a:r>
          </a:p>
        </p:txBody>
      </p:sp>
    </p:spTree>
    <p:extLst>
      <p:ext uri="{BB962C8B-B14F-4D97-AF65-F5344CB8AC3E}">
        <p14:creationId xmlns:p14="http://schemas.microsoft.com/office/powerpoint/2010/main" val="2048600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FA362C2-526B-8169-2DB5-CFB4F0D809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8699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A362C2-526B-8169-2DB5-CFB4F0D809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57AD021-1B23-A931-2724-8847951F9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D27E913-A707-22C0-E280-935BD93A36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88D3EB1-3096-231A-55E4-A3604EDC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C3FD7F7-0659-3DE1-3172-F39434A08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79B8A42-B383-7D63-6FF1-E02F77E20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024676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8E159C9-C583-638C-1404-92555BF004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1056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E159C9-C583-638C-1404-92555BF004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6C31CAE-0060-046A-D1D0-E12732F726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9745" y="1843087"/>
            <a:ext cx="5370818" cy="4333875"/>
          </a:xfrm>
        </p:spPr>
        <p:txBody>
          <a:bodyPr/>
          <a:lstStyle/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3776A1B4-B970-8036-9CE9-1944F320DD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43087"/>
            <a:ext cx="5395913" cy="4333875"/>
          </a:xfrm>
        </p:spPr>
        <p:txBody>
          <a:bodyPr/>
          <a:lstStyle/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0519C93D-51D2-B23A-3040-9E60BDBBD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532D1878-FF79-44EC-6056-411E07730B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934807C8-DDA0-481C-2956-046067A2F7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2" name="Rubrik 11">
            <a:extLst>
              <a:ext uri="{FF2B5EF4-FFF2-40B4-BE49-F238E27FC236}">
                <a16:creationId xmlns:a16="http://schemas.microsoft.com/office/drawing/2014/main" id="{83BD5A6D-EAF2-8ABB-3965-5B17979F7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80559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0F98764-CE83-C7A4-80DF-609183ECEB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0726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F98764-CE83-C7A4-80DF-609183ECEB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D27E913-A707-22C0-E280-935BD93A36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45" y="1843087"/>
            <a:ext cx="5120032" cy="4333875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88D3EB1-3096-231A-55E4-A3604EDC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C3FD7F7-0659-3DE1-3172-F39434A08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3691" y="6356350"/>
            <a:ext cx="3046086" cy="365125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6ED26201-7848-6EDF-F3C3-9CC2F91D06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79B8A42-B383-7D63-6FF1-E02F77E20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4884FF9C-5BEB-D738-25B3-F9F6C03D7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45" y="368301"/>
            <a:ext cx="5120032" cy="1255092"/>
          </a:xfrm>
        </p:spPr>
        <p:txBody>
          <a:bodyPr/>
          <a:lstStyle/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883672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0F98764-CE83-C7A4-80DF-609183ECEB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467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F98764-CE83-C7A4-80DF-609183ECEB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88D3EB1-3096-231A-55E4-A3604EDC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C3FD7F7-0659-3DE1-3172-F39434A08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3691" y="6356350"/>
            <a:ext cx="3046086" cy="365125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6ED26201-7848-6EDF-F3C3-9CC2F91D06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79B8A42-B383-7D63-6FF1-E02F77E20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7C081FEF-FA5E-0177-3DBD-7648DA30A485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271463" y="6337976"/>
            <a:ext cx="1557920" cy="364701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 noProof="0" dirty="0"/>
              <a:t>  </a:t>
            </a:r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5810D51D-6293-15BF-A85B-BA533AD3D5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48081" y="1843087"/>
            <a:ext cx="5120032" cy="4333875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9" name="Rubrik 1">
            <a:extLst>
              <a:ext uri="{FF2B5EF4-FFF2-40B4-BE49-F238E27FC236}">
                <a16:creationId xmlns:a16="http://schemas.microsoft.com/office/drawing/2014/main" id="{89EF6C06-9DC2-63BE-97DB-A7CBFBE923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8081" y="368301"/>
            <a:ext cx="5120032" cy="1255092"/>
          </a:xfrm>
        </p:spPr>
        <p:txBody>
          <a:bodyPr/>
          <a:lstStyle/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006379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95DC9EE-F0AE-0747-2E7A-A2FEB8A935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105617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06" imgH="306" progId="TCLayout.ActiveDocument.1">
                  <p:embed/>
                </p:oleObj>
              </mc:Choice>
              <mc:Fallback>
                <p:oleObj name="think-cell Slide" r:id="rId27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5DC9EE-F0AE-0747-2E7A-A2FEB8A93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AAE41E92-3B4B-3F53-8B3A-A3750ABA43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45" y="368301"/>
            <a:ext cx="10928368" cy="125509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GB" noProof="0" dirty="0" err="1"/>
              <a:t>Klicka</a:t>
            </a:r>
            <a:r>
              <a:rPr lang="en-GB" noProof="0" dirty="0"/>
              <a:t> </a:t>
            </a:r>
            <a:r>
              <a:rPr lang="en-GB" noProof="0" dirty="0" err="1"/>
              <a:t>här</a:t>
            </a:r>
            <a:r>
              <a:rPr lang="en-GB" noProof="0" dirty="0"/>
              <a:t> för </a:t>
            </a:r>
            <a:r>
              <a:rPr lang="en-GB" noProof="0" dirty="0" err="1"/>
              <a:t>att</a:t>
            </a:r>
            <a:r>
              <a:rPr lang="en-GB" noProof="0" dirty="0"/>
              <a:t> </a:t>
            </a:r>
            <a:r>
              <a:rPr lang="en-GB" noProof="0" dirty="0" err="1"/>
              <a:t>ändra</a:t>
            </a:r>
            <a:r>
              <a:rPr lang="en-GB" noProof="0" dirty="0"/>
              <a:t> mall för </a:t>
            </a:r>
            <a:r>
              <a:rPr lang="en-GB" noProof="0" dirty="0" err="1"/>
              <a:t>rubrikformat</a:t>
            </a:r>
            <a:endParaRPr lang="en-GB" noProof="0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9BB7AB72-AEC7-4437-F285-9973E9A39E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9745" y="1843089"/>
            <a:ext cx="10928368" cy="43386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Klicka</a:t>
            </a:r>
            <a:r>
              <a:rPr lang="en-GB" noProof="0" dirty="0"/>
              <a:t> </a:t>
            </a:r>
            <a:r>
              <a:rPr lang="en-GB" noProof="0" dirty="0" err="1"/>
              <a:t>här</a:t>
            </a:r>
            <a:r>
              <a:rPr lang="en-GB" noProof="0" dirty="0"/>
              <a:t> för </a:t>
            </a:r>
            <a:r>
              <a:rPr lang="en-GB" noProof="0" dirty="0" err="1"/>
              <a:t>att</a:t>
            </a:r>
            <a:r>
              <a:rPr lang="en-GB" noProof="0" dirty="0"/>
              <a:t> </a:t>
            </a:r>
            <a:r>
              <a:rPr lang="en-GB" noProof="0" dirty="0" err="1"/>
              <a:t>ändra</a:t>
            </a:r>
            <a:r>
              <a:rPr lang="en-GB" noProof="0" dirty="0"/>
              <a:t> format </a:t>
            </a:r>
            <a:r>
              <a:rPr lang="en-GB" noProof="0" dirty="0" err="1"/>
              <a:t>på</a:t>
            </a:r>
            <a:r>
              <a:rPr lang="en-GB" noProof="0" dirty="0"/>
              <a:t> </a:t>
            </a:r>
            <a:r>
              <a:rPr lang="en-GB" noProof="0" dirty="0" err="1"/>
              <a:t>bakgrundstexten</a:t>
            </a:r>
            <a:endParaRPr lang="en-GB" noProof="0" dirty="0"/>
          </a:p>
          <a:p>
            <a:pPr lvl="1"/>
            <a:r>
              <a:rPr lang="en-GB" noProof="0" dirty="0" err="1"/>
              <a:t>Nivå</a:t>
            </a:r>
            <a:r>
              <a:rPr lang="en-GB" noProof="0" dirty="0"/>
              <a:t> </a:t>
            </a:r>
            <a:r>
              <a:rPr lang="en-GB" noProof="0" dirty="0" err="1"/>
              <a:t>två</a:t>
            </a:r>
            <a:endParaRPr lang="en-GB" noProof="0" dirty="0"/>
          </a:p>
          <a:p>
            <a:pPr lvl="2"/>
            <a:r>
              <a:rPr lang="en-GB" noProof="0" dirty="0" err="1"/>
              <a:t>Nivå</a:t>
            </a:r>
            <a:r>
              <a:rPr lang="en-GB" noProof="0" dirty="0"/>
              <a:t> </a:t>
            </a:r>
            <a:r>
              <a:rPr lang="en-GB" noProof="0" dirty="0" err="1"/>
              <a:t>tre</a:t>
            </a:r>
            <a:endParaRPr lang="en-GB" noProof="0" dirty="0"/>
          </a:p>
          <a:p>
            <a:pPr lvl="3"/>
            <a:r>
              <a:rPr lang="en-GB" noProof="0" dirty="0" err="1"/>
              <a:t>Nivå</a:t>
            </a:r>
            <a:r>
              <a:rPr lang="en-GB" noProof="0" dirty="0"/>
              <a:t> </a:t>
            </a:r>
            <a:r>
              <a:rPr lang="en-GB" noProof="0" dirty="0" err="1"/>
              <a:t>fyra</a:t>
            </a:r>
            <a:endParaRPr lang="en-GB" noProof="0" dirty="0"/>
          </a:p>
          <a:p>
            <a:pPr lvl="4"/>
            <a:r>
              <a:rPr lang="en-GB" noProof="0" dirty="0" err="1"/>
              <a:t>Nivå</a:t>
            </a:r>
            <a:r>
              <a:rPr lang="en-GB" noProof="0" dirty="0"/>
              <a:t>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BBAAE51-0E17-C8F1-247A-ED2FB3BBC5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-29509" y="703323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55A0B18-5235-4EB7-ED5F-70BF5668F6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8810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FE74CD70-6A2C-65C7-4053-67A5B0796B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8475" y="6388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  <p:grpSp>
        <p:nvGrpSpPr>
          <p:cNvPr id="12" name="7cf438db-31c6-40c9-bbab-ccf47e0b0b05">
            <a:extLst>
              <a:ext uri="{FF2B5EF4-FFF2-40B4-BE49-F238E27FC236}">
                <a16:creationId xmlns:a16="http://schemas.microsoft.com/office/drawing/2014/main" id="{D7356FB3-3ED3-AF38-DDDD-B4CABFE1212C}"/>
              </a:ext>
            </a:extLst>
          </p:cNvPr>
          <p:cNvGrpSpPr/>
          <p:nvPr userDrawn="1"/>
        </p:nvGrpSpPr>
        <p:grpSpPr>
          <a:xfrm>
            <a:off x="280755" y="6337300"/>
            <a:ext cx="1545411" cy="365125"/>
            <a:chOff x="4488401" y="2530239"/>
            <a:chExt cx="5599747" cy="1323022"/>
          </a:xfrm>
        </p:grpSpPr>
        <p:grpSp>
          <p:nvGrpSpPr>
            <p:cNvPr id="13" name="Graphic 7">
              <a:extLst>
                <a:ext uri="{FF2B5EF4-FFF2-40B4-BE49-F238E27FC236}">
                  <a16:creationId xmlns:a16="http://schemas.microsoft.com/office/drawing/2014/main" id="{42A32D17-9C28-5E82-5E26-EAAD40228D02}"/>
                </a:ext>
              </a:extLst>
            </p:cNvPr>
            <p:cNvGrpSpPr/>
            <p:nvPr/>
          </p:nvGrpSpPr>
          <p:grpSpPr>
            <a:xfrm>
              <a:off x="5716174" y="2734074"/>
              <a:ext cx="4359592" cy="843914"/>
              <a:chOff x="5716174" y="2734074"/>
              <a:chExt cx="4359592" cy="843914"/>
            </a:xfrm>
            <a:solidFill>
              <a:srgbClr val="626A6E"/>
            </a:solidFill>
          </p:grpSpPr>
          <p:sp>
            <p:nvSpPr>
              <p:cNvPr id="54" name="Freeform: Shape 104">
                <a:extLst>
                  <a:ext uri="{FF2B5EF4-FFF2-40B4-BE49-F238E27FC236}">
                    <a16:creationId xmlns:a16="http://schemas.microsoft.com/office/drawing/2014/main" id="{8762C136-07E8-1E78-597C-43246AF0491A}"/>
                  </a:ext>
                </a:extLst>
              </p:cNvPr>
              <p:cNvSpPr/>
              <p:nvPr/>
            </p:nvSpPr>
            <p:spPr>
              <a:xfrm>
                <a:off x="5716174" y="2995059"/>
                <a:ext cx="511492" cy="582929"/>
              </a:xfrm>
              <a:custGeom>
                <a:avLst/>
                <a:gdLst>
                  <a:gd name="connsiteX0" fmla="*/ 417195 w 511492"/>
                  <a:gd name="connsiteY0" fmla="*/ 409575 h 582929"/>
                  <a:gd name="connsiteX1" fmla="*/ 287655 w 511492"/>
                  <a:gd name="connsiteY1" fmla="*/ 464820 h 582929"/>
                  <a:gd name="connsiteX2" fmla="*/ 124777 w 511492"/>
                  <a:gd name="connsiteY2" fmla="*/ 291465 h 582929"/>
                  <a:gd name="connsiteX3" fmla="*/ 287655 w 511492"/>
                  <a:gd name="connsiteY3" fmla="*/ 118110 h 582929"/>
                  <a:gd name="connsiteX4" fmla="*/ 416242 w 511492"/>
                  <a:gd name="connsiteY4" fmla="*/ 172402 h 582929"/>
                  <a:gd name="connsiteX5" fmla="*/ 431482 w 511492"/>
                  <a:gd name="connsiteY5" fmla="*/ 186690 h 582929"/>
                  <a:gd name="connsiteX6" fmla="*/ 511492 w 511492"/>
                  <a:gd name="connsiteY6" fmla="*/ 102870 h 582929"/>
                  <a:gd name="connsiteX7" fmla="*/ 499110 w 511492"/>
                  <a:gd name="connsiteY7" fmla="*/ 88582 h 582929"/>
                  <a:gd name="connsiteX8" fmla="*/ 290513 w 511492"/>
                  <a:gd name="connsiteY8" fmla="*/ 0 h 582929"/>
                  <a:gd name="connsiteX9" fmla="*/ 0 w 511492"/>
                  <a:gd name="connsiteY9" fmla="*/ 291465 h 582929"/>
                  <a:gd name="connsiteX10" fmla="*/ 290513 w 511492"/>
                  <a:gd name="connsiteY10" fmla="*/ 582930 h 582929"/>
                  <a:gd name="connsiteX11" fmla="*/ 499110 w 511492"/>
                  <a:gd name="connsiteY11" fmla="*/ 494348 h 582929"/>
                  <a:gd name="connsiteX12" fmla="*/ 511492 w 511492"/>
                  <a:gd name="connsiteY12" fmla="*/ 481013 h 582929"/>
                  <a:gd name="connsiteX13" fmla="*/ 433388 w 511492"/>
                  <a:gd name="connsiteY13" fmla="*/ 395288 h 582929"/>
                  <a:gd name="connsiteX14" fmla="*/ 417195 w 511492"/>
                  <a:gd name="connsiteY14" fmla="*/ 409575 h 582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11492" h="582929">
                    <a:moveTo>
                      <a:pt x="417195" y="409575"/>
                    </a:moveTo>
                    <a:cubicBezTo>
                      <a:pt x="380047" y="444817"/>
                      <a:pt x="334327" y="464820"/>
                      <a:pt x="287655" y="464820"/>
                    </a:cubicBezTo>
                    <a:cubicBezTo>
                      <a:pt x="193357" y="464820"/>
                      <a:pt x="124777" y="391478"/>
                      <a:pt x="124777" y="291465"/>
                    </a:cubicBezTo>
                    <a:cubicBezTo>
                      <a:pt x="124777" y="191452"/>
                      <a:pt x="193357" y="118110"/>
                      <a:pt x="287655" y="118110"/>
                    </a:cubicBezTo>
                    <a:cubicBezTo>
                      <a:pt x="336232" y="118110"/>
                      <a:pt x="378142" y="136208"/>
                      <a:pt x="416242" y="172402"/>
                    </a:cubicBezTo>
                    <a:lnTo>
                      <a:pt x="431482" y="186690"/>
                    </a:lnTo>
                    <a:lnTo>
                      <a:pt x="511492" y="102870"/>
                    </a:lnTo>
                    <a:lnTo>
                      <a:pt x="499110" y="88582"/>
                    </a:lnTo>
                    <a:cubicBezTo>
                      <a:pt x="448627" y="31432"/>
                      <a:pt x="374332" y="0"/>
                      <a:pt x="290513" y="0"/>
                    </a:cubicBezTo>
                    <a:cubicBezTo>
                      <a:pt x="122872" y="0"/>
                      <a:pt x="0" y="122873"/>
                      <a:pt x="0" y="291465"/>
                    </a:cubicBezTo>
                    <a:cubicBezTo>
                      <a:pt x="0" y="460058"/>
                      <a:pt x="121920" y="582930"/>
                      <a:pt x="290513" y="582930"/>
                    </a:cubicBezTo>
                    <a:cubicBezTo>
                      <a:pt x="374332" y="582930"/>
                      <a:pt x="447675" y="551498"/>
                      <a:pt x="499110" y="494348"/>
                    </a:cubicBezTo>
                    <a:lnTo>
                      <a:pt x="511492" y="481013"/>
                    </a:lnTo>
                    <a:lnTo>
                      <a:pt x="433388" y="395288"/>
                    </a:lnTo>
                    <a:lnTo>
                      <a:pt x="417195" y="40957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5" name="Freeform: Shape 105">
                <a:extLst>
                  <a:ext uri="{FF2B5EF4-FFF2-40B4-BE49-F238E27FC236}">
                    <a16:creationId xmlns:a16="http://schemas.microsoft.com/office/drawing/2014/main" id="{100F5549-30B4-89BC-D6AB-5C9018ECCA94}"/>
                  </a:ext>
                </a:extLst>
              </p:cNvPr>
              <p:cNvSpPr/>
              <p:nvPr/>
            </p:nvSpPr>
            <p:spPr>
              <a:xfrm>
                <a:off x="6294341" y="2734074"/>
                <a:ext cx="515309" cy="833437"/>
              </a:xfrm>
              <a:custGeom>
                <a:avLst/>
                <a:gdLst>
                  <a:gd name="connsiteX0" fmla="*/ 278130 w 515309"/>
                  <a:gd name="connsiteY0" fmla="*/ 260985 h 833437"/>
                  <a:gd name="connsiteX1" fmla="*/ 123825 w 515309"/>
                  <a:gd name="connsiteY1" fmla="*/ 312420 h 833437"/>
                  <a:gd name="connsiteX2" fmla="*/ 123825 w 515309"/>
                  <a:gd name="connsiteY2" fmla="*/ 0 h 833437"/>
                  <a:gd name="connsiteX3" fmla="*/ 0 w 515309"/>
                  <a:gd name="connsiteY3" fmla="*/ 0 h 833437"/>
                  <a:gd name="connsiteX4" fmla="*/ 0 w 515309"/>
                  <a:gd name="connsiteY4" fmla="*/ 833438 h 833437"/>
                  <a:gd name="connsiteX5" fmla="*/ 123825 w 515309"/>
                  <a:gd name="connsiteY5" fmla="*/ 833438 h 833437"/>
                  <a:gd name="connsiteX6" fmla="*/ 123825 w 515309"/>
                  <a:gd name="connsiteY6" fmla="*/ 519112 h 833437"/>
                  <a:gd name="connsiteX7" fmla="*/ 262890 w 515309"/>
                  <a:gd name="connsiteY7" fmla="*/ 380048 h 833437"/>
                  <a:gd name="connsiteX8" fmla="*/ 392430 w 515309"/>
                  <a:gd name="connsiteY8" fmla="*/ 517208 h 833437"/>
                  <a:gd name="connsiteX9" fmla="*/ 392430 w 515309"/>
                  <a:gd name="connsiteY9" fmla="*/ 833438 h 833437"/>
                  <a:gd name="connsiteX10" fmla="*/ 515302 w 515309"/>
                  <a:gd name="connsiteY10" fmla="*/ 833438 h 833437"/>
                  <a:gd name="connsiteX11" fmla="*/ 515302 w 515309"/>
                  <a:gd name="connsiteY11" fmla="*/ 489585 h 833437"/>
                  <a:gd name="connsiteX12" fmla="*/ 278130 w 515309"/>
                  <a:gd name="connsiteY12" fmla="*/ 260985 h 833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15309" h="833437">
                    <a:moveTo>
                      <a:pt x="278130" y="260985"/>
                    </a:moveTo>
                    <a:cubicBezTo>
                      <a:pt x="240030" y="260985"/>
                      <a:pt x="177165" y="268605"/>
                      <a:pt x="123825" y="312420"/>
                    </a:cubicBezTo>
                    <a:lnTo>
                      <a:pt x="123825" y="0"/>
                    </a:lnTo>
                    <a:lnTo>
                      <a:pt x="0" y="0"/>
                    </a:lnTo>
                    <a:lnTo>
                      <a:pt x="0" y="833438"/>
                    </a:lnTo>
                    <a:lnTo>
                      <a:pt x="123825" y="833438"/>
                    </a:lnTo>
                    <a:lnTo>
                      <a:pt x="123825" y="519112"/>
                    </a:lnTo>
                    <a:cubicBezTo>
                      <a:pt x="123825" y="437198"/>
                      <a:pt x="180975" y="380048"/>
                      <a:pt x="262890" y="380048"/>
                    </a:cubicBezTo>
                    <a:cubicBezTo>
                      <a:pt x="346710" y="380048"/>
                      <a:pt x="392430" y="428625"/>
                      <a:pt x="392430" y="517208"/>
                    </a:cubicBezTo>
                    <a:lnTo>
                      <a:pt x="392430" y="833438"/>
                    </a:lnTo>
                    <a:lnTo>
                      <a:pt x="515302" y="833438"/>
                    </a:lnTo>
                    <a:lnTo>
                      <a:pt x="515302" y="489585"/>
                    </a:lnTo>
                    <a:cubicBezTo>
                      <a:pt x="516255" y="352425"/>
                      <a:pt x="420052" y="260985"/>
                      <a:pt x="278130" y="260985"/>
                    </a:cubicBez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6" name="Freeform: Shape 106">
                <a:extLst>
                  <a:ext uri="{FF2B5EF4-FFF2-40B4-BE49-F238E27FC236}">
                    <a16:creationId xmlns:a16="http://schemas.microsoft.com/office/drawing/2014/main" id="{FC28371E-2563-C69E-9958-B30AD7F67504}"/>
                  </a:ext>
                </a:extLst>
              </p:cNvPr>
              <p:cNvSpPr/>
              <p:nvPr/>
            </p:nvSpPr>
            <p:spPr>
              <a:xfrm>
                <a:off x="7494491" y="2995059"/>
                <a:ext cx="907732" cy="572452"/>
              </a:xfrm>
              <a:custGeom>
                <a:avLst/>
                <a:gdLst>
                  <a:gd name="connsiteX0" fmla="*/ 668655 w 907732"/>
                  <a:gd name="connsiteY0" fmla="*/ 0 h 572452"/>
                  <a:gd name="connsiteX1" fmla="*/ 472440 w 907732"/>
                  <a:gd name="connsiteY1" fmla="*/ 90488 h 572452"/>
                  <a:gd name="connsiteX2" fmla="*/ 277178 w 907732"/>
                  <a:gd name="connsiteY2" fmla="*/ 0 h 572452"/>
                  <a:gd name="connsiteX3" fmla="*/ 121920 w 907732"/>
                  <a:gd name="connsiteY3" fmla="*/ 52388 h 572452"/>
                  <a:gd name="connsiteX4" fmla="*/ 121920 w 907732"/>
                  <a:gd name="connsiteY4" fmla="*/ 10477 h 572452"/>
                  <a:gd name="connsiteX5" fmla="*/ 0 w 907732"/>
                  <a:gd name="connsiteY5" fmla="*/ 10477 h 572452"/>
                  <a:gd name="connsiteX6" fmla="*/ 0 w 907732"/>
                  <a:gd name="connsiteY6" fmla="*/ 572453 h 572452"/>
                  <a:gd name="connsiteX7" fmla="*/ 123825 w 907732"/>
                  <a:gd name="connsiteY7" fmla="*/ 572453 h 572452"/>
                  <a:gd name="connsiteX8" fmla="*/ 123825 w 907732"/>
                  <a:gd name="connsiteY8" fmla="*/ 258127 h 572452"/>
                  <a:gd name="connsiteX9" fmla="*/ 262890 w 907732"/>
                  <a:gd name="connsiteY9" fmla="*/ 119063 h 572452"/>
                  <a:gd name="connsiteX10" fmla="*/ 392430 w 907732"/>
                  <a:gd name="connsiteY10" fmla="*/ 256223 h 572452"/>
                  <a:gd name="connsiteX11" fmla="*/ 392430 w 907732"/>
                  <a:gd name="connsiteY11" fmla="*/ 572453 h 572452"/>
                  <a:gd name="connsiteX12" fmla="*/ 515303 w 907732"/>
                  <a:gd name="connsiteY12" fmla="*/ 572453 h 572452"/>
                  <a:gd name="connsiteX13" fmla="*/ 515303 w 907732"/>
                  <a:gd name="connsiteY13" fmla="*/ 258127 h 572452"/>
                  <a:gd name="connsiteX14" fmla="*/ 654368 w 907732"/>
                  <a:gd name="connsiteY14" fmla="*/ 119063 h 572452"/>
                  <a:gd name="connsiteX15" fmla="*/ 784860 w 907732"/>
                  <a:gd name="connsiteY15" fmla="*/ 256223 h 572452"/>
                  <a:gd name="connsiteX16" fmla="*/ 784860 w 907732"/>
                  <a:gd name="connsiteY16" fmla="*/ 572453 h 572452"/>
                  <a:gd name="connsiteX17" fmla="*/ 907733 w 907732"/>
                  <a:gd name="connsiteY17" fmla="*/ 572453 h 572452"/>
                  <a:gd name="connsiteX18" fmla="*/ 907733 w 907732"/>
                  <a:gd name="connsiteY18" fmla="*/ 228600 h 572452"/>
                  <a:gd name="connsiteX19" fmla="*/ 668655 w 907732"/>
                  <a:gd name="connsiteY19" fmla="*/ 0 h 572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07732" h="572452">
                    <a:moveTo>
                      <a:pt x="668655" y="0"/>
                    </a:moveTo>
                    <a:cubicBezTo>
                      <a:pt x="584835" y="0"/>
                      <a:pt x="515303" y="32385"/>
                      <a:pt x="472440" y="90488"/>
                    </a:cubicBezTo>
                    <a:cubicBezTo>
                      <a:pt x="430530" y="32385"/>
                      <a:pt x="360998" y="0"/>
                      <a:pt x="277178" y="0"/>
                    </a:cubicBezTo>
                    <a:cubicBezTo>
                      <a:pt x="239078" y="0"/>
                      <a:pt x="174308" y="7620"/>
                      <a:pt x="121920" y="52388"/>
                    </a:cubicBezTo>
                    <a:lnTo>
                      <a:pt x="121920" y="10477"/>
                    </a:lnTo>
                    <a:lnTo>
                      <a:pt x="0" y="10477"/>
                    </a:lnTo>
                    <a:lnTo>
                      <a:pt x="0" y="572453"/>
                    </a:lnTo>
                    <a:lnTo>
                      <a:pt x="123825" y="572453"/>
                    </a:lnTo>
                    <a:lnTo>
                      <a:pt x="123825" y="258127"/>
                    </a:lnTo>
                    <a:cubicBezTo>
                      <a:pt x="123825" y="176213"/>
                      <a:pt x="180975" y="119063"/>
                      <a:pt x="262890" y="119063"/>
                    </a:cubicBezTo>
                    <a:cubicBezTo>
                      <a:pt x="346710" y="119063"/>
                      <a:pt x="392430" y="167640"/>
                      <a:pt x="392430" y="256223"/>
                    </a:cubicBezTo>
                    <a:lnTo>
                      <a:pt x="392430" y="572453"/>
                    </a:lnTo>
                    <a:lnTo>
                      <a:pt x="515303" y="572453"/>
                    </a:lnTo>
                    <a:lnTo>
                      <a:pt x="515303" y="258127"/>
                    </a:lnTo>
                    <a:cubicBezTo>
                      <a:pt x="515303" y="176213"/>
                      <a:pt x="572453" y="119063"/>
                      <a:pt x="654368" y="119063"/>
                    </a:cubicBezTo>
                    <a:cubicBezTo>
                      <a:pt x="738188" y="119063"/>
                      <a:pt x="784860" y="167640"/>
                      <a:pt x="784860" y="256223"/>
                    </a:cubicBezTo>
                    <a:lnTo>
                      <a:pt x="784860" y="572453"/>
                    </a:lnTo>
                    <a:lnTo>
                      <a:pt x="907733" y="572453"/>
                    </a:lnTo>
                    <a:lnTo>
                      <a:pt x="907733" y="228600"/>
                    </a:lnTo>
                    <a:cubicBezTo>
                      <a:pt x="906780" y="91440"/>
                      <a:pt x="810578" y="0"/>
                      <a:pt x="668655" y="0"/>
                    </a:cubicBez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7" name="Freeform: Shape 107">
                <a:extLst>
                  <a:ext uri="{FF2B5EF4-FFF2-40B4-BE49-F238E27FC236}">
                    <a16:creationId xmlns:a16="http://schemas.microsoft.com/office/drawing/2014/main" id="{F2B2BC16-BE1F-00CE-6D86-5AE4128F8057}"/>
                  </a:ext>
                </a:extLst>
              </p:cNvPr>
              <p:cNvSpPr/>
              <p:nvPr/>
            </p:nvSpPr>
            <p:spPr>
              <a:xfrm>
                <a:off x="6877271" y="2995059"/>
                <a:ext cx="544830" cy="582929"/>
              </a:xfrm>
              <a:custGeom>
                <a:avLst/>
                <a:gdLst>
                  <a:gd name="connsiteX0" fmla="*/ 283845 w 544830"/>
                  <a:gd name="connsiteY0" fmla="*/ 582930 h 582929"/>
                  <a:gd name="connsiteX1" fmla="*/ 0 w 544830"/>
                  <a:gd name="connsiteY1" fmla="*/ 291465 h 582929"/>
                  <a:gd name="connsiteX2" fmla="*/ 279082 w 544830"/>
                  <a:gd name="connsiteY2" fmla="*/ 0 h 582929"/>
                  <a:gd name="connsiteX3" fmla="*/ 544830 w 544830"/>
                  <a:gd name="connsiteY3" fmla="*/ 289560 h 582929"/>
                  <a:gd name="connsiteX4" fmla="*/ 542925 w 544830"/>
                  <a:gd name="connsiteY4" fmla="*/ 322898 h 582929"/>
                  <a:gd name="connsiteX5" fmla="*/ 541020 w 544830"/>
                  <a:gd name="connsiteY5" fmla="*/ 340995 h 582929"/>
                  <a:gd name="connsiteX6" fmla="*/ 129540 w 544830"/>
                  <a:gd name="connsiteY6" fmla="*/ 340995 h 582929"/>
                  <a:gd name="connsiteX7" fmla="*/ 289560 w 544830"/>
                  <a:gd name="connsiteY7" fmla="*/ 469583 h 582929"/>
                  <a:gd name="connsiteX8" fmla="*/ 441007 w 544830"/>
                  <a:gd name="connsiteY8" fmla="*/ 409575 h 582929"/>
                  <a:gd name="connsiteX9" fmla="*/ 457200 w 544830"/>
                  <a:gd name="connsiteY9" fmla="*/ 394335 h 582929"/>
                  <a:gd name="connsiteX10" fmla="*/ 526732 w 544830"/>
                  <a:gd name="connsiteY10" fmla="*/ 481965 h 582929"/>
                  <a:gd name="connsiteX11" fmla="*/ 513397 w 544830"/>
                  <a:gd name="connsiteY11" fmla="*/ 494348 h 582929"/>
                  <a:gd name="connsiteX12" fmla="*/ 283845 w 544830"/>
                  <a:gd name="connsiteY12" fmla="*/ 582930 h 582929"/>
                  <a:gd name="connsiteX13" fmla="*/ 129540 w 544830"/>
                  <a:gd name="connsiteY13" fmla="*/ 233363 h 582929"/>
                  <a:gd name="connsiteX14" fmla="*/ 415290 w 544830"/>
                  <a:gd name="connsiteY14" fmla="*/ 233363 h 582929"/>
                  <a:gd name="connsiteX15" fmla="*/ 276225 w 544830"/>
                  <a:gd name="connsiteY15" fmla="*/ 114300 h 582929"/>
                  <a:gd name="connsiteX16" fmla="*/ 129540 w 544830"/>
                  <a:gd name="connsiteY16" fmla="*/ 233363 h 582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44830" h="582929">
                    <a:moveTo>
                      <a:pt x="283845" y="582930"/>
                    </a:moveTo>
                    <a:cubicBezTo>
                      <a:pt x="116205" y="582930"/>
                      <a:pt x="0" y="462915"/>
                      <a:pt x="0" y="291465"/>
                    </a:cubicBezTo>
                    <a:cubicBezTo>
                      <a:pt x="0" y="122873"/>
                      <a:pt x="117157" y="0"/>
                      <a:pt x="279082" y="0"/>
                    </a:cubicBezTo>
                    <a:cubicBezTo>
                      <a:pt x="431482" y="0"/>
                      <a:pt x="542925" y="121920"/>
                      <a:pt x="544830" y="289560"/>
                    </a:cubicBezTo>
                    <a:cubicBezTo>
                      <a:pt x="544830" y="300990"/>
                      <a:pt x="543878" y="313373"/>
                      <a:pt x="542925" y="322898"/>
                    </a:cubicBezTo>
                    <a:lnTo>
                      <a:pt x="541020" y="340995"/>
                    </a:lnTo>
                    <a:lnTo>
                      <a:pt x="129540" y="340995"/>
                    </a:lnTo>
                    <a:cubicBezTo>
                      <a:pt x="146685" y="421005"/>
                      <a:pt x="205740" y="469583"/>
                      <a:pt x="289560" y="469583"/>
                    </a:cubicBezTo>
                    <a:cubicBezTo>
                      <a:pt x="345757" y="469583"/>
                      <a:pt x="398145" y="448628"/>
                      <a:pt x="441007" y="409575"/>
                    </a:cubicBezTo>
                    <a:lnTo>
                      <a:pt x="457200" y="394335"/>
                    </a:lnTo>
                    <a:lnTo>
                      <a:pt x="526732" y="481965"/>
                    </a:lnTo>
                    <a:lnTo>
                      <a:pt x="513397" y="494348"/>
                    </a:lnTo>
                    <a:cubicBezTo>
                      <a:pt x="449580" y="555308"/>
                      <a:pt x="377190" y="582930"/>
                      <a:pt x="283845" y="582930"/>
                    </a:cubicBezTo>
                    <a:close/>
                    <a:moveTo>
                      <a:pt x="129540" y="233363"/>
                    </a:moveTo>
                    <a:lnTo>
                      <a:pt x="415290" y="233363"/>
                    </a:lnTo>
                    <a:cubicBezTo>
                      <a:pt x="399097" y="159067"/>
                      <a:pt x="347663" y="114300"/>
                      <a:pt x="276225" y="114300"/>
                    </a:cubicBezTo>
                    <a:cubicBezTo>
                      <a:pt x="201930" y="114300"/>
                      <a:pt x="148590" y="158115"/>
                      <a:pt x="129540" y="233363"/>
                    </a:cubicBez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8" name="Freeform: Shape 108">
                <a:extLst>
                  <a:ext uri="{FF2B5EF4-FFF2-40B4-BE49-F238E27FC236}">
                    <a16:creationId xmlns:a16="http://schemas.microsoft.com/office/drawing/2014/main" id="{2DEFE414-C33C-2EB3-2F38-E4080C539DC3}"/>
                  </a:ext>
                </a:extLst>
              </p:cNvPr>
              <p:cNvSpPr/>
              <p:nvPr/>
            </p:nvSpPr>
            <p:spPr>
              <a:xfrm>
                <a:off x="8482234" y="2999821"/>
                <a:ext cx="465772" cy="566737"/>
              </a:xfrm>
              <a:custGeom>
                <a:avLst/>
                <a:gdLst>
                  <a:gd name="connsiteX0" fmla="*/ 0 w 465772"/>
                  <a:gd name="connsiteY0" fmla="*/ 501015 h 566737"/>
                  <a:gd name="connsiteX1" fmla="*/ 232410 w 465772"/>
                  <a:gd name="connsiteY1" fmla="*/ 566738 h 566737"/>
                  <a:gd name="connsiteX2" fmla="*/ 465772 w 465772"/>
                  <a:gd name="connsiteY2" fmla="*/ 398145 h 566737"/>
                  <a:gd name="connsiteX3" fmla="*/ 285750 w 465772"/>
                  <a:gd name="connsiteY3" fmla="*/ 253365 h 566737"/>
                  <a:gd name="connsiteX4" fmla="*/ 233363 w 465772"/>
                  <a:gd name="connsiteY4" fmla="*/ 247650 h 566737"/>
                  <a:gd name="connsiteX5" fmla="*/ 92393 w 465772"/>
                  <a:gd name="connsiteY5" fmla="*/ 159067 h 566737"/>
                  <a:gd name="connsiteX6" fmla="*/ 240030 w 465772"/>
                  <a:gd name="connsiteY6" fmla="*/ 63818 h 566737"/>
                  <a:gd name="connsiteX7" fmla="*/ 418147 w 465772"/>
                  <a:gd name="connsiteY7" fmla="*/ 114300 h 566737"/>
                  <a:gd name="connsiteX8" fmla="*/ 451485 w 465772"/>
                  <a:gd name="connsiteY8" fmla="*/ 58102 h 566737"/>
                  <a:gd name="connsiteX9" fmla="*/ 239078 w 465772"/>
                  <a:gd name="connsiteY9" fmla="*/ 0 h 566737"/>
                  <a:gd name="connsiteX10" fmla="*/ 17145 w 465772"/>
                  <a:gd name="connsiteY10" fmla="*/ 165735 h 566737"/>
                  <a:gd name="connsiteX11" fmla="*/ 193357 w 465772"/>
                  <a:gd name="connsiteY11" fmla="*/ 311467 h 566737"/>
                  <a:gd name="connsiteX12" fmla="*/ 247650 w 465772"/>
                  <a:gd name="connsiteY12" fmla="*/ 319088 h 566737"/>
                  <a:gd name="connsiteX13" fmla="*/ 391478 w 465772"/>
                  <a:gd name="connsiteY13" fmla="*/ 406717 h 566737"/>
                  <a:gd name="connsiteX14" fmla="*/ 232410 w 465772"/>
                  <a:gd name="connsiteY14" fmla="*/ 504825 h 566737"/>
                  <a:gd name="connsiteX15" fmla="*/ 37147 w 465772"/>
                  <a:gd name="connsiteY15" fmla="*/ 445770 h 566737"/>
                  <a:gd name="connsiteX16" fmla="*/ 0 w 465772"/>
                  <a:gd name="connsiteY16" fmla="*/ 501015 h 566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65772" h="566737">
                    <a:moveTo>
                      <a:pt x="0" y="501015"/>
                    </a:moveTo>
                    <a:cubicBezTo>
                      <a:pt x="55245" y="541020"/>
                      <a:pt x="148590" y="566738"/>
                      <a:pt x="232410" y="566738"/>
                    </a:cubicBezTo>
                    <a:cubicBezTo>
                      <a:pt x="340043" y="566738"/>
                      <a:pt x="465772" y="522923"/>
                      <a:pt x="465772" y="398145"/>
                    </a:cubicBezTo>
                    <a:cubicBezTo>
                      <a:pt x="465772" y="295275"/>
                      <a:pt x="367665" y="262890"/>
                      <a:pt x="285750" y="253365"/>
                    </a:cubicBezTo>
                    <a:lnTo>
                      <a:pt x="233363" y="247650"/>
                    </a:lnTo>
                    <a:cubicBezTo>
                      <a:pt x="136207" y="237173"/>
                      <a:pt x="92393" y="209550"/>
                      <a:pt x="92393" y="159067"/>
                    </a:cubicBezTo>
                    <a:cubicBezTo>
                      <a:pt x="93345" y="100965"/>
                      <a:pt x="150495" y="63818"/>
                      <a:pt x="240030" y="63818"/>
                    </a:cubicBezTo>
                    <a:cubicBezTo>
                      <a:pt x="322897" y="63818"/>
                      <a:pt x="385763" y="94298"/>
                      <a:pt x="418147" y="114300"/>
                    </a:cubicBezTo>
                    <a:lnTo>
                      <a:pt x="451485" y="58102"/>
                    </a:lnTo>
                    <a:cubicBezTo>
                      <a:pt x="387668" y="19050"/>
                      <a:pt x="318135" y="0"/>
                      <a:pt x="239078" y="0"/>
                    </a:cubicBezTo>
                    <a:cubicBezTo>
                      <a:pt x="106680" y="0"/>
                      <a:pt x="17145" y="66675"/>
                      <a:pt x="17145" y="165735"/>
                    </a:cubicBezTo>
                    <a:cubicBezTo>
                      <a:pt x="17145" y="270510"/>
                      <a:pt x="113347" y="302895"/>
                      <a:pt x="193357" y="311467"/>
                    </a:cubicBezTo>
                    <a:lnTo>
                      <a:pt x="247650" y="319088"/>
                    </a:lnTo>
                    <a:cubicBezTo>
                      <a:pt x="309563" y="325755"/>
                      <a:pt x="391478" y="341948"/>
                      <a:pt x="391478" y="406717"/>
                    </a:cubicBezTo>
                    <a:cubicBezTo>
                      <a:pt x="391478" y="466725"/>
                      <a:pt x="330518" y="504825"/>
                      <a:pt x="232410" y="504825"/>
                    </a:cubicBezTo>
                    <a:cubicBezTo>
                      <a:pt x="157163" y="504825"/>
                      <a:pt x="80963" y="475298"/>
                      <a:pt x="37147" y="445770"/>
                    </a:cubicBezTo>
                    <a:lnTo>
                      <a:pt x="0" y="50101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9" name="Freeform: Shape 109">
                <a:extLst>
                  <a:ext uri="{FF2B5EF4-FFF2-40B4-BE49-F238E27FC236}">
                    <a16:creationId xmlns:a16="http://schemas.microsoft.com/office/drawing/2014/main" id="{9220528D-F10C-8972-A202-DBCDB630677E}"/>
                  </a:ext>
                </a:extLst>
              </p:cNvPr>
              <p:cNvSpPr/>
              <p:nvPr/>
            </p:nvSpPr>
            <p:spPr>
              <a:xfrm>
                <a:off x="8995631" y="2999821"/>
                <a:ext cx="526732" cy="567689"/>
              </a:xfrm>
              <a:custGeom>
                <a:avLst/>
                <a:gdLst>
                  <a:gd name="connsiteX0" fmla="*/ 270510 w 526732"/>
                  <a:gd name="connsiteY0" fmla="*/ 0 h 567689"/>
                  <a:gd name="connsiteX1" fmla="*/ 0 w 526732"/>
                  <a:gd name="connsiteY1" fmla="*/ 283845 h 567689"/>
                  <a:gd name="connsiteX2" fmla="*/ 276225 w 526732"/>
                  <a:gd name="connsiteY2" fmla="*/ 567690 h 567689"/>
                  <a:gd name="connsiteX3" fmla="*/ 498158 w 526732"/>
                  <a:gd name="connsiteY3" fmla="*/ 484823 h 567689"/>
                  <a:gd name="connsiteX4" fmla="*/ 457200 w 526732"/>
                  <a:gd name="connsiteY4" fmla="*/ 432435 h 567689"/>
                  <a:gd name="connsiteX5" fmla="*/ 281940 w 526732"/>
                  <a:gd name="connsiteY5" fmla="*/ 500063 h 567689"/>
                  <a:gd name="connsiteX6" fmla="*/ 80963 w 526732"/>
                  <a:gd name="connsiteY6" fmla="*/ 314325 h 567689"/>
                  <a:gd name="connsiteX7" fmla="*/ 80010 w 526732"/>
                  <a:gd name="connsiteY7" fmla="*/ 308610 h 567689"/>
                  <a:gd name="connsiteX8" fmla="*/ 525780 w 526732"/>
                  <a:gd name="connsiteY8" fmla="*/ 308610 h 567689"/>
                  <a:gd name="connsiteX9" fmla="*/ 526733 w 526732"/>
                  <a:gd name="connsiteY9" fmla="*/ 280988 h 567689"/>
                  <a:gd name="connsiteX10" fmla="*/ 270510 w 526732"/>
                  <a:gd name="connsiteY10" fmla="*/ 0 h 567689"/>
                  <a:gd name="connsiteX11" fmla="*/ 447675 w 526732"/>
                  <a:gd name="connsiteY11" fmla="*/ 248602 h 567689"/>
                  <a:gd name="connsiteX12" fmla="*/ 80010 w 526732"/>
                  <a:gd name="connsiteY12" fmla="*/ 248602 h 567689"/>
                  <a:gd name="connsiteX13" fmla="*/ 80963 w 526732"/>
                  <a:gd name="connsiteY13" fmla="*/ 242888 h 567689"/>
                  <a:gd name="connsiteX14" fmla="*/ 268605 w 526732"/>
                  <a:gd name="connsiteY14" fmla="*/ 67627 h 567689"/>
                  <a:gd name="connsiteX15" fmla="*/ 446722 w 526732"/>
                  <a:gd name="connsiteY15" fmla="*/ 242888 h 567689"/>
                  <a:gd name="connsiteX16" fmla="*/ 447675 w 526732"/>
                  <a:gd name="connsiteY16" fmla="*/ 248602 h 567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26732" h="567689">
                    <a:moveTo>
                      <a:pt x="270510" y="0"/>
                    </a:moveTo>
                    <a:cubicBezTo>
                      <a:pt x="113347" y="0"/>
                      <a:pt x="0" y="120015"/>
                      <a:pt x="0" y="283845"/>
                    </a:cubicBezTo>
                    <a:cubicBezTo>
                      <a:pt x="0" y="450533"/>
                      <a:pt x="113347" y="567690"/>
                      <a:pt x="276225" y="567690"/>
                    </a:cubicBezTo>
                    <a:cubicBezTo>
                      <a:pt x="366713" y="567690"/>
                      <a:pt x="437197" y="541020"/>
                      <a:pt x="498158" y="484823"/>
                    </a:cubicBezTo>
                    <a:lnTo>
                      <a:pt x="457200" y="432435"/>
                    </a:lnTo>
                    <a:cubicBezTo>
                      <a:pt x="406717" y="476250"/>
                      <a:pt x="346710" y="500063"/>
                      <a:pt x="281940" y="500063"/>
                    </a:cubicBezTo>
                    <a:cubicBezTo>
                      <a:pt x="171450" y="500063"/>
                      <a:pt x="92393" y="427673"/>
                      <a:pt x="80963" y="314325"/>
                    </a:cubicBezTo>
                    <a:lnTo>
                      <a:pt x="80010" y="308610"/>
                    </a:lnTo>
                    <a:lnTo>
                      <a:pt x="525780" y="308610"/>
                    </a:lnTo>
                    <a:cubicBezTo>
                      <a:pt x="526733" y="300038"/>
                      <a:pt x="526733" y="290513"/>
                      <a:pt x="526733" y="280988"/>
                    </a:cubicBezTo>
                    <a:cubicBezTo>
                      <a:pt x="525780" y="116205"/>
                      <a:pt x="420053" y="0"/>
                      <a:pt x="270510" y="0"/>
                    </a:cubicBezTo>
                    <a:close/>
                    <a:moveTo>
                      <a:pt x="447675" y="248602"/>
                    </a:moveTo>
                    <a:lnTo>
                      <a:pt x="80010" y="248602"/>
                    </a:lnTo>
                    <a:lnTo>
                      <a:pt x="80963" y="242888"/>
                    </a:lnTo>
                    <a:cubicBezTo>
                      <a:pt x="96203" y="135255"/>
                      <a:pt x="167640" y="67627"/>
                      <a:pt x="268605" y="67627"/>
                    </a:cubicBezTo>
                    <a:cubicBezTo>
                      <a:pt x="365760" y="67627"/>
                      <a:pt x="435292" y="136208"/>
                      <a:pt x="446722" y="242888"/>
                    </a:cubicBezTo>
                    <a:lnTo>
                      <a:pt x="447675" y="248602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60" name="Freeform: Shape 110">
                <a:extLst>
                  <a:ext uri="{FF2B5EF4-FFF2-40B4-BE49-F238E27FC236}">
                    <a16:creationId xmlns:a16="http://schemas.microsoft.com/office/drawing/2014/main" id="{C4ED1A7D-23CE-99B0-4939-4964ADFE5F91}"/>
                  </a:ext>
                </a:extLst>
              </p:cNvPr>
              <p:cNvSpPr/>
              <p:nvPr/>
            </p:nvSpPr>
            <p:spPr>
              <a:xfrm>
                <a:off x="9593801" y="2999821"/>
                <a:ext cx="481964" cy="567689"/>
              </a:xfrm>
              <a:custGeom>
                <a:avLst/>
                <a:gdLst>
                  <a:gd name="connsiteX0" fmla="*/ 282893 w 481964"/>
                  <a:gd name="connsiteY0" fmla="*/ 0 h 567689"/>
                  <a:gd name="connsiteX1" fmla="*/ 0 w 481964"/>
                  <a:gd name="connsiteY1" fmla="*/ 283845 h 567689"/>
                  <a:gd name="connsiteX2" fmla="*/ 282893 w 481964"/>
                  <a:gd name="connsiteY2" fmla="*/ 567690 h 567689"/>
                  <a:gd name="connsiteX3" fmla="*/ 481965 w 481964"/>
                  <a:gd name="connsiteY3" fmla="*/ 484823 h 567689"/>
                  <a:gd name="connsiteX4" fmla="*/ 433388 w 481964"/>
                  <a:gd name="connsiteY4" fmla="*/ 431483 h 567689"/>
                  <a:gd name="connsiteX5" fmla="*/ 280035 w 481964"/>
                  <a:gd name="connsiteY5" fmla="*/ 494348 h 567689"/>
                  <a:gd name="connsiteX6" fmla="*/ 79057 w 481964"/>
                  <a:gd name="connsiteY6" fmla="*/ 282892 h 567689"/>
                  <a:gd name="connsiteX7" fmla="*/ 280035 w 481964"/>
                  <a:gd name="connsiteY7" fmla="*/ 71438 h 567689"/>
                  <a:gd name="connsiteX8" fmla="*/ 431482 w 481964"/>
                  <a:gd name="connsiteY8" fmla="*/ 134302 h 567689"/>
                  <a:gd name="connsiteX9" fmla="*/ 481013 w 481964"/>
                  <a:gd name="connsiteY9" fmla="*/ 81915 h 567689"/>
                  <a:gd name="connsiteX10" fmla="*/ 282893 w 481964"/>
                  <a:gd name="connsiteY10" fmla="*/ 0 h 567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81964" h="567689">
                    <a:moveTo>
                      <a:pt x="282893" y="0"/>
                    </a:moveTo>
                    <a:cubicBezTo>
                      <a:pt x="119063" y="0"/>
                      <a:pt x="0" y="119063"/>
                      <a:pt x="0" y="283845"/>
                    </a:cubicBezTo>
                    <a:cubicBezTo>
                      <a:pt x="0" y="448628"/>
                      <a:pt x="119063" y="567690"/>
                      <a:pt x="282893" y="567690"/>
                    </a:cubicBezTo>
                    <a:cubicBezTo>
                      <a:pt x="362902" y="567690"/>
                      <a:pt x="433388" y="538163"/>
                      <a:pt x="481965" y="484823"/>
                    </a:cubicBezTo>
                    <a:lnTo>
                      <a:pt x="433388" y="431483"/>
                    </a:lnTo>
                    <a:cubicBezTo>
                      <a:pt x="389572" y="472440"/>
                      <a:pt x="335280" y="494348"/>
                      <a:pt x="280035" y="494348"/>
                    </a:cubicBezTo>
                    <a:cubicBezTo>
                      <a:pt x="165735" y="494348"/>
                      <a:pt x="79057" y="402908"/>
                      <a:pt x="79057" y="282892"/>
                    </a:cubicBezTo>
                    <a:cubicBezTo>
                      <a:pt x="79057" y="162877"/>
                      <a:pt x="165735" y="71438"/>
                      <a:pt x="280035" y="71438"/>
                    </a:cubicBezTo>
                    <a:cubicBezTo>
                      <a:pt x="336232" y="71438"/>
                      <a:pt x="387668" y="92393"/>
                      <a:pt x="431482" y="134302"/>
                    </a:cubicBezTo>
                    <a:lnTo>
                      <a:pt x="481013" y="81915"/>
                    </a:lnTo>
                    <a:cubicBezTo>
                      <a:pt x="433388" y="29527"/>
                      <a:pt x="362902" y="0"/>
                      <a:pt x="282893" y="0"/>
                    </a:cubicBez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grpSp>
          <p:nvGrpSpPr>
            <p:cNvPr id="14" name="Graphic 7">
              <a:extLst>
                <a:ext uri="{FF2B5EF4-FFF2-40B4-BE49-F238E27FC236}">
                  <a16:creationId xmlns:a16="http://schemas.microsoft.com/office/drawing/2014/main" id="{89407763-1FCB-BAC8-B436-C4BB972F6F35}"/>
                </a:ext>
              </a:extLst>
            </p:cNvPr>
            <p:cNvGrpSpPr/>
            <p:nvPr/>
          </p:nvGrpSpPr>
          <p:grpSpPr>
            <a:xfrm>
              <a:off x="5772371" y="3713244"/>
              <a:ext cx="4315777" cy="140017"/>
              <a:chOff x="5772371" y="3713244"/>
              <a:chExt cx="4315777" cy="140017"/>
            </a:xfrm>
            <a:solidFill>
              <a:srgbClr val="626A6E"/>
            </a:solidFill>
          </p:grpSpPr>
          <p:sp>
            <p:nvSpPr>
              <p:cNvPr id="22" name="Freeform: Shape 72">
                <a:extLst>
                  <a:ext uri="{FF2B5EF4-FFF2-40B4-BE49-F238E27FC236}">
                    <a16:creationId xmlns:a16="http://schemas.microsoft.com/office/drawing/2014/main" id="{F305E9DB-A8C2-48A2-CB4A-657BCFE382E8}"/>
                  </a:ext>
                </a:extLst>
              </p:cNvPr>
              <p:cNvSpPr/>
              <p:nvPr/>
            </p:nvSpPr>
            <p:spPr>
              <a:xfrm>
                <a:off x="5772371" y="3715148"/>
                <a:ext cx="17145" cy="135255"/>
              </a:xfrm>
              <a:custGeom>
                <a:avLst/>
                <a:gdLst>
                  <a:gd name="connsiteX0" fmla="*/ 17145 w 17145"/>
                  <a:gd name="connsiteY0" fmla="*/ 0 h 135255"/>
                  <a:gd name="connsiteX1" fmla="*/ 17145 w 17145"/>
                  <a:gd name="connsiteY1" fmla="*/ 135255 h 135255"/>
                  <a:gd name="connsiteX2" fmla="*/ 0 w 17145"/>
                  <a:gd name="connsiteY2" fmla="*/ 135255 h 135255"/>
                  <a:gd name="connsiteX3" fmla="*/ 0 w 17145"/>
                  <a:gd name="connsiteY3" fmla="*/ 0 h 135255"/>
                  <a:gd name="connsiteX4" fmla="*/ 17145 w 17145"/>
                  <a:gd name="connsiteY4" fmla="*/ 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5" h="135255">
                    <a:moveTo>
                      <a:pt x="17145" y="0"/>
                    </a:moveTo>
                    <a:lnTo>
                      <a:pt x="17145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3" name="Freeform: Shape 73">
                <a:extLst>
                  <a:ext uri="{FF2B5EF4-FFF2-40B4-BE49-F238E27FC236}">
                    <a16:creationId xmlns:a16="http://schemas.microsoft.com/office/drawing/2014/main" id="{88C35D75-305F-09C5-C9E6-EEFD716D362B}"/>
                  </a:ext>
                </a:extLst>
              </p:cNvPr>
              <p:cNvSpPr/>
              <p:nvPr/>
            </p:nvSpPr>
            <p:spPr>
              <a:xfrm>
                <a:off x="5847618" y="3715148"/>
                <a:ext cx="100965" cy="136207"/>
              </a:xfrm>
              <a:custGeom>
                <a:avLst/>
                <a:gdLst>
                  <a:gd name="connsiteX0" fmla="*/ 0 w 100965"/>
                  <a:gd name="connsiteY0" fmla="*/ 135255 h 136207"/>
                  <a:gd name="connsiteX1" fmla="*/ 0 w 100965"/>
                  <a:gd name="connsiteY1" fmla="*/ 0 h 136207"/>
                  <a:gd name="connsiteX2" fmla="*/ 19050 w 100965"/>
                  <a:gd name="connsiteY2" fmla="*/ 0 h 136207"/>
                  <a:gd name="connsiteX3" fmla="*/ 61913 w 100965"/>
                  <a:gd name="connsiteY3" fmla="*/ 68580 h 136207"/>
                  <a:gd name="connsiteX4" fmla="*/ 85725 w 100965"/>
                  <a:gd name="connsiteY4" fmla="*/ 112395 h 136207"/>
                  <a:gd name="connsiteX5" fmla="*/ 86678 w 100965"/>
                  <a:gd name="connsiteY5" fmla="*/ 112395 h 136207"/>
                  <a:gd name="connsiteX6" fmla="*/ 84773 w 100965"/>
                  <a:gd name="connsiteY6" fmla="*/ 57150 h 136207"/>
                  <a:gd name="connsiteX7" fmla="*/ 84773 w 100965"/>
                  <a:gd name="connsiteY7" fmla="*/ 952 h 136207"/>
                  <a:gd name="connsiteX8" fmla="*/ 100965 w 100965"/>
                  <a:gd name="connsiteY8" fmla="*/ 952 h 136207"/>
                  <a:gd name="connsiteX9" fmla="*/ 100965 w 100965"/>
                  <a:gd name="connsiteY9" fmla="*/ 136207 h 136207"/>
                  <a:gd name="connsiteX10" fmla="*/ 83820 w 100965"/>
                  <a:gd name="connsiteY10" fmla="*/ 136207 h 136207"/>
                  <a:gd name="connsiteX11" fmla="*/ 40958 w 100965"/>
                  <a:gd name="connsiteY11" fmla="*/ 67627 h 136207"/>
                  <a:gd name="connsiteX12" fmla="*/ 16193 w 100965"/>
                  <a:gd name="connsiteY12" fmla="*/ 22860 h 136207"/>
                  <a:gd name="connsiteX13" fmla="*/ 15240 w 100965"/>
                  <a:gd name="connsiteY13" fmla="*/ 22860 h 136207"/>
                  <a:gd name="connsiteX14" fmla="*/ 16193 w 100965"/>
                  <a:gd name="connsiteY14" fmla="*/ 78105 h 136207"/>
                  <a:gd name="connsiteX15" fmla="*/ 16193 w 100965"/>
                  <a:gd name="connsiteY15" fmla="*/ 135255 h 136207"/>
                  <a:gd name="connsiteX16" fmla="*/ 0 w 100965"/>
                  <a:gd name="connsiteY16" fmla="*/ 135255 h 136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0965" h="136207">
                    <a:moveTo>
                      <a:pt x="0" y="135255"/>
                    </a:moveTo>
                    <a:lnTo>
                      <a:pt x="0" y="0"/>
                    </a:lnTo>
                    <a:lnTo>
                      <a:pt x="19050" y="0"/>
                    </a:lnTo>
                    <a:lnTo>
                      <a:pt x="61913" y="68580"/>
                    </a:lnTo>
                    <a:cubicBezTo>
                      <a:pt x="71438" y="84773"/>
                      <a:pt x="80010" y="98107"/>
                      <a:pt x="85725" y="112395"/>
                    </a:cubicBezTo>
                    <a:lnTo>
                      <a:pt x="86678" y="112395"/>
                    </a:lnTo>
                    <a:cubicBezTo>
                      <a:pt x="84773" y="94298"/>
                      <a:pt x="84773" y="78105"/>
                      <a:pt x="84773" y="57150"/>
                    </a:cubicBezTo>
                    <a:lnTo>
                      <a:pt x="84773" y="952"/>
                    </a:lnTo>
                    <a:lnTo>
                      <a:pt x="100965" y="952"/>
                    </a:lnTo>
                    <a:lnTo>
                      <a:pt x="100965" y="136207"/>
                    </a:lnTo>
                    <a:lnTo>
                      <a:pt x="83820" y="136207"/>
                    </a:lnTo>
                    <a:lnTo>
                      <a:pt x="40958" y="67627"/>
                    </a:lnTo>
                    <a:cubicBezTo>
                      <a:pt x="31433" y="52388"/>
                      <a:pt x="22860" y="37148"/>
                      <a:pt x="16193" y="22860"/>
                    </a:cubicBezTo>
                    <a:lnTo>
                      <a:pt x="15240" y="22860"/>
                    </a:lnTo>
                    <a:cubicBezTo>
                      <a:pt x="16193" y="40005"/>
                      <a:pt x="16193" y="56198"/>
                      <a:pt x="16193" y="78105"/>
                    </a:cubicBezTo>
                    <a:lnTo>
                      <a:pt x="16193" y="135255"/>
                    </a:lnTo>
                    <a:lnTo>
                      <a:pt x="0" y="13525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4" name="Freeform: Shape 74">
                <a:extLst>
                  <a:ext uri="{FF2B5EF4-FFF2-40B4-BE49-F238E27FC236}">
                    <a16:creationId xmlns:a16="http://schemas.microsoft.com/office/drawing/2014/main" id="{0280E6C1-6860-FFFE-EAF9-519E43433787}"/>
                  </a:ext>
                </a:extLst>
              </p:cNvPr>
              <p:cNvSpPr/>
              <p:nvPr/>
            </p:nvSpPr>
            <p:spPr>
              <a:xfrm>
                <a:off x="5991446" y="3715148"/>
                <a:ext cx="100012" cy="135255"/>
              </a:xfrm>
              <a:custGeom>
                <a:avLst/>
                <a:gdLst>
                  <a:gd name="connsiteX0" fmla="*/ 40958 w 100012"/>
                  <a:gd name="connsiteY0" fmla="*/ 15240 h 135255"/>
                  <a:gd name="connsiteX1" fmla="*/ 0 w 100012"/>
                  <a:gd name="connsiteY1" fmla="*/ 15240 h 135255"/>
                  <a:gd name="connsiteX2" fmla="*/ 0 w 100012"/>
                  <a:gd name="connsiteY2" fmla="*/ 0 h 135255"/>
                  <a:gd name="connsiteX3" fmla="*/ 100013 w 100012"/>
                  <a:gd name="connsiteY3" fmla="*/ 0 h 135255"/>
                  <a:gd name="connsiteX4" fmla="*/ 100013 w 100012"/>
                  <a:gd name="connsiteY4" fmla="*/ 15240 h 135255"/>
                  <a:gd name="connsiteX5" fmla="*/ 59055 w 100012"/>
                  <a:gd name="connsiteY5" fmla="*/ 15240 h 135255"/>
                  <a:gd name="connsiteX6" fmla="*/ 59055 w 100012"/>
                  <a:gd name="connsiteY6" fmla="*/ 135255 h 135255"/>
                  <a:gd name="connsiteX7" fmla="*/ 41910 w 100012"/>
                  <a:gd name="connsiteY7" fmla="*/ 135255 h 135255"/>
                  <a:gd name="connsiteX8" fmla="*/ 41910 w 100012"/>
                  <a:gd name="connsiteY8" fmla="*/ 1524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12" h="135255">
                    <a:moveTo>
                      <a:pt x="40958" y="15240"/>
                    </a:moveTo>
                    <a:lnTo>
                      <a:pt x="0" y="15240"/>
                    </a:lnTo>
                    <a:lnTo>
                      <a:pt x="0" y="0"/>
                    </a:lnTo>
                    <a:lnTo>
                      <a:pt x="100013" y="0"/>
                    </a:lnTo>
                    <a:lnTo>
                      <a:pt x="100013" y="15240"/>
                    </a:lnTo>
                    <a:lnTo>
                      <a:pt x="59055" y="15240"/>
                    </a:lnTo>
                    <a:lnTo>
                      <a:pt x="59055" y="135255"/>
                    </a:lnTo>
                    <a:lnTo>
                      <a:pt x="41910" y="135255"/>
                    </a:lnTo>
                    <a:lnTo>
                      <a:pt x="41910" y="1524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5" name="Freeform: Shape 75">
                <a:extLst>
                  <a:ext uri="{FF2B5EF4-FFF2-40B4-BE49-F238E27FC236}">
                    <a16:creationId xmlns:a16="http://schemas.microsoft.com/office/drawing/2014/main" id="{5B4EEE50-B3D5-0E5F-9651-E4C768917A18}"/>
                  </a:ext>
                </a:extLst>
              </p:cNvPr>
              <p:cNvSpPr/>
              <p:nvPr/>
            </p:nvSpPr>
            <p:spPr>
              <a:xfrm>
                <a:off x="6133368" y="3714196"/>
                <a:ext cx="76200" cy="135254"/>
              </a:xfrm>
              <a:custGeom>
                <a:avLst/>
                <a:gdLst>
                  <a:gd name="connsiteX0" fmla="*/ 70485 w 76200"/>
                  <a:gd name="connsiteY0" fmla="*/ 72390 h 135254"/>
                  <a:gd name="connsiteX1" fmla="*/ 18098 w 76200"/>
                  <a:gd name="connsiteY1" fmla="*/ 72390 h 135254"/>
                  <a:gd name="connsiteX2" fmla="*/ 18098 w 76200"/>
                  <a:gd name="connsiteY2" fmla="*/ 120967 h 135254"/>
                  <a:gd name="connsiteX3" fmla="*/ 76200 w 76200"/>
                  <a:gd name="connsiteY3" fmla="*/ 120967 h 135254"/>
                  <a:gd name="connsiteX4" fmla="*/ 76200 w 76200"/>
                  <a:gd name="connsiteY4" fmla="*/ 135255 h 135254"/>
                  <a:gd name="connsiteX5" fmla="*/ 0 w 76200"/>
                  <a:gd name="connsiteY5" fmla="*/ 135255 h 135254"/>
                  <a:gd name="connsiteX6" fmla="*/ 0 w 76200"/>
                  <a:gd name="connsiteY6" fmla="*/ 0 h 135254"/>
                  <a:gd name="connsiteX7" fmla="*/ 73343 w 76200"/>
                  <a:gd name="connsiteY7" fmla="*/ 0 h 135254"/>
                  <a:gd name="connsiteX8" fmla="*/ 73343 w 76200"/>
                  <a:gd name="connsiteY8" fmla="*/ 14288 h 135254"/>
                  <a:gd name="connsiteX9" fmla="*/ 18098 w 76200"/>
                  <a:gd name="connsiteY9" fmla="*/ 14288 h 135254"/>
                  <a:gd name="connsiteX10" fmla="*/ 18098 w 76200"/>
                  <a:gd name="connsiteY10" fmla="*/ 57150 h 135254"/>
                  <a:gd name="connsiteX11" fmla="*/ 70485 w 76200"/>
                  <a:gd name="connsiteY11" fmla="*/ 57150 h 135254"/>
                  <a:gd name="connsiteX12" fmla="*/ 70485 w 76200"/>
                  <a:gd name="connsiteY12" fmla="*/ 72390 h 13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6200" h="135254">
                    <a:moveTo>
                      <a:pt x="70485" y="72390"/>
                    </a:moveTo>
                    <a:lnTo>
                      <a:pt x="18098" y="72390"/>
                    </a:lnTo>
                    <a:lnTo>
                      <a:pt x="18098" y="120967"/>
                    </a:lnTo>
                    <a:lnTo>
                      <a:pt x="76200" y="120967"/>
                    </a:lnTo>
                    <a:lnTo>
                      <a:pt x="76200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73343" y="0"/>
                    </a:lnTo>
                    <a:lnTo>
                      <a:pt x="73343" y="14288"/>
                    </a:lnTo>
                    <a:lnTo>
                      <a:pt x="18098" y="14288"/>
                    </a:lnTo>
                    <a:lnTo>
                      <a:pt x="18098" y="57150"/>
                    </a:lnTo>
                    <a:lnTo>
                      <a:pt x="70485" y="57150"/>
                    </a:lnTo>
                    <a:lnTo>
                      <a:pt x="70485" y="7239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6" name="Freeform: Shape 76">
                <a:extLst>
                  <a:ext uri="{FF2B5EF4-FFF2-40B4-BE49-F238E27FC236}">
                    <a16:creationId xmlns:a16="http://schemas.microsoft.com/office/drawing/2014/main" id="{8E4DAAB9-F3F0-1DF1-48B7-360E87AA5E84}"/>
                  </a:ext>
                </a:extLst>
              </p:cNvPr>
              <p:cNvSpPr/>
              <p:nvPr/>
            </p:nvSpPr>
            <p:spPr>
              <a:xfrm>
                <a:off x="6260051" y="3714196"/>
                <a:ext cx="88582" cy="137159"/>
              </a:xfrm>
              <a:custGeom>
                <a:avLst/>
                <a:gdLst>
                  <a:gd name="connsiteX0" fmla="*/ 0 w 88582"/>
                  <a:gd name="connsiteY0" fmla="*/ 2858 h 137159"/>
                  <a:gd name="connsiteX1" fmla="*/ 33338 w 88582"/>
                  <a:gd name="connsiteY1" fmla="*/ 0 h 137159"/>
                  <a:gd name="connsiteX2" fmla="*/ 72390 w 88582"/>
                  <a:gd name="connsiteY2" fmla="*/ 11430 h 137159"/>
                  <a:gd name="connsiteX3" fmla="*/ 82867 w 88582"/>
                  <a:gd name="connsiteY3" fmla="*/ 37147 h 137159"/>
                  <a:gd name="connsiteX4" fmla="*/ 58103 w 88582"/>
                  <a:gd name="connsiteY4" fmla="*/ 71438 h 137159"/>
                  <a:gd name="connsiteX5" fmla="*/ 58103 w 88582"/>
                  <a:gd name="connsiteY5" fmla="*/ 72390 h 137159"/>
                  <a:gd name="connsiteX6" fmla="*/ 78105 w 88582"/>
                  <a:gd name="connsiteY6" fmla="*/ 100013 h 137159"/>
                  <a:gd name="connsiteX7" fmla="*/ 88583 w 88582"/>
                  <a:gd name="connsiteY7" fmla="*/ 137160 h 137159"/>
                  <a:gd name="connsiteX8" fmla="*/ 69533 w 88582"/>
                  <a:gd name="connsiteY8" fmla="*/ 137160 h 137159"/>
                  <a:gd name="connsiteX9" fmla="*/ 60960 w 88582"/>
                  <a:gd name="connsiteY9" fmla="*/ 104775 h 137159"/>
                  <a:gd name="connsiteX10" fmla="*/ 33338 w 88582"/>
                  <a:gd name="connsiteY10" fmla="*/ 78105 h 137159"/>
                  <a:gd name="connsiteX11" fmla="*/ 17145 w 88582"/>
                  <a:gd name="connsiteY11" fmla="*/ 78105 h 137159"/>
                  <a:gd name="connsiteX12" fmla="*/ 17145 w 88582"/>
                  <a:gd name="connsiteY12" fmla="*/ 136208 h 137159"/>
                  <a:gd name="connsiteX13" fmla="*/ 0 w 88582"/>
                  <a:gd name="connsiteY13" fmla="*/ 136208 h 137159"/>
                  <a:gd name="connsiteX14" fmla="*/ 0 w 88582"/>
                  <a:gd name="connsiteY14" fmla="*/ 2858 h 137159"/>
                  <a:gd name="connsiteX15" fmla="*/ 17145 w 88582"/>
                  <a:gd name="connsiteY15" fmla="*/ 64770 h 137159"/>
                  <a:gd name="connsiteX16" fmla="*/ 35242 w 88582"/>
                  <a:gd name="connsiteY16" fmla="*/ 64770 h 137159"/>
                  <a:gd name="connsiteX17" fmla="*/ 65723 w 88582"/>
                  <a:gd name="connsiteY17" fmla="*/ 39053 h 137159"/>
                  <a:gd name="connsiteX18" fmla="*/ 34290 w 88582"/>
                  <a:gd name="connsiteY18" fmla="*/ 14288 h 137159"/>
                  <a:gd name="connsiteX19" fmla="*/ 17145 w 88582"/>
                  <a:gd name="connsiteY19" fmla="*/ 15240 h 137159"/>
                  <a:gd name="connsiteX20" fmla="*/ 17145 w 88582"/>
                  <a:gd name="connsiteY20" fmla="*/ 64770 h 137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8582" h="137159">
                    <a:moveTo>
                      <a:pt x="0" y="2858"/>
                    </a:moveTo>
                    <a:cubicBezTo>
                      <a:pt x="8573" y="952"/>
                      <a:pt x="21908" y="0"/>
                      <a:pt x="33338" y="0"/>
                    </a:cubicBezTo>
                    <a:cubicBezTo>
                      <a:pt x="52388" y="0"/>
                      <a:pt x="63817" y="3810"/>
                      <a:pt x="72390" y="11430"/>
                    </a:cubicBezTo>
                    <a:cubicBezTo>
                      <a:pt x="79058" y="17145"/>
                      <a:pt x="82867" y="26670"/>
                      <a:pt x="82867" y="37147"/>
                    </a:cubicBezTo>
                    <a:cubicBezTo>
                      <a:pt x="82867" y="54292"/>
                      <a:pt x="71438" y="66675"/>
                      <a:pt x="58103" y="71438"/>
                    </a:cubicBezTo>
                    <a:lnTo>
                      <a:pt x="58103" y="72390"/>
                    </a:lnTo>
                    <a:cubicBezTo>
                      <a:pt x="68580" y="76200"/>
                      <a:pt x="74295" y="85725"/>
                      <a:pt x="78105" y="100013"/>
                    </a:cubicBezTo>
                    <a:cubicBezTo>
                      <a:pt x="82867" y="119063"/>
                      <a:pt x="85725" y="131445"/>
                      <a:pt x="88583" y="137160"/>
                    </a:cubicBezTo>
                    <a:lnTo>
                      <a:pt x="69533" y="137160"/>
                    </a:lnTo>
                    <a:cubicBezTo>
                      <a:pt x="67628" y="133350"/>
                      <a:pt x="64770" y="121920"/>
                      <a:pt x="60960" y="104775"/>
                    </a:cubicBezTo>
                    <a:cubicBezTo>
                      <a:pt x="57150" y="85725"/>
                      <a:pt x="49530" y="79058"/>
                      <a:pt x="33338" y="78105"/>
                    </a:cubicBezTo>
                    <a:lnTo>
                      <a:pt x="17145" y="78105"/>
                    </a:lnTo>
                    <a:lnTo>
                      <a:pt x="17145" y="136208"/>
                    </a:lnTo>
                    <a:lnTo>
                      <a:pt x="0" y="136208"/>
                    </a:lnTo>
                    <a:lnTo>
                      <a:pt x="0" y="2858"/>
                    </a:lnTo>
                    <a:close/>
                    <a:moveTo>
                      <a:pt x="17145" y="64770"/>
                    </a:moveTo>
                    <a:lnTo>
                      <a:pt x="35242" y="64770"/>
                    </a:lnTo>
                    <a:cubicBezTo>
                      <a:pt x="54292" y="64770"/>
                      <a:pt x="65723" y="54292"/>
                      <a:pt x="65723" y="39053"/>
                    </a:cubicBezTo>
                    <a:cubicBezTo>
                      <a:pt x="65723" y="21908"/>
                      <a:pt x="53340" y="14288"/>
                      <a:pt x="34290" y="14288"/>
                    </a:cubicBezTo>
                    <a:cubicBezTo>
                      <a:pt x="25717" y="14288"/>
                      <a:pt x="20003" y="15240"/>
                      <a:pt x="17145" y="15240"/>
                    </a:cubicBezTo>
                    <a:lnTo>
                      <a:pt x="17145" y="6477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7" name="Freeform: Shape 77">
                <a:extLst>
                  <a:ext uri="{FF2B5EF4-FFF2-40B4-BE49-F238E27FC236}">
                    <a16:creationId xmlns:a16="http://schemas.microsoft.com/office/drawing/2014/main" id="{99353F39-ABCE-43E7-5A92-FDB99AF99CC2}"/>
                  </a:ext>
                </a:extLst>
              </p:cNvPr>
              <p:cNvSpPr/>
              <p:nvPr/>
            </p:nvSpPr>
            <p:spPr>
              <a:xfrm>
                <a:off x="6395306" y="3715148"/>
                <a:ext cx="100965" cy="136207"/>
              </a:xfrm>
              <a:custGeom>
                <a:avLst/>
                <a:gdLst>
                  <a:gd name="connsiteX0" fmla="*/ 0 w 100965"/>
                  <a:gd name="connsiteY0" fmla="*/ 135255 h 136207"/>
                  <a:gd name="connsiteX1" fmla="*/ 0 w 100965"/>
                  <a:gd name="connsiteY1" fmla="*/ 0 h 136207"/>
                  <a:gd name="connsiteX2" fmla="*/ 19050 w 100965"/>
                  <a:gd name="connsiteY2" fmla="*/ 0 h 136207"/>
                  <a:gd name="connsiteX3" fmla="*/ 61913 w 100965"/>
                  <a:gd name="connsiteY3" fmla="*/ 68580 h 136207"/>
                  <a:gd name="connsiteX4" fmla="*/ 85725 w 100965"/>
                  <a:gd name="connsiteY4" fmla="*/ 112395 h 136207"/>
                  <a:gd name="connsiteX5" fmla="*/ 86678 w 100965"/>
                  <a:gd name="connsiteY5" fmla="*/ 112395 h 136207"/>
                  <a:gd name="connsiteX6" fmla="*/ 84773 w 100965"/>
                  <a:gd name="connsiteY6" fmla="*/ 57150 h 136207"/>
                  <a:gd name="connsiteX7" fmla="*/ 84773 w 100965"/>
                  <a:gd name="connsiteY7" fmla="*/ 952 h 136207"/>
                  <a:gd name="connsiteX8" fmla="*/ 100965 w 100965"/>
                  <a:gd name="connsiteY8" fmla="*/ 952 h 136207"/>
                  <a:gd name="connsiteX9" fmla="*/ 100965 w 100965"/>
                  <a:gd name="connsiteY9" fmla="*/ 136207 h 136207"/>
                  <a:gd name="connsiteX10" fmla="*/ 83820 w 100965"/>
                  <a:gd name="connsiteY10" fmla="*/ 136207 h 136207"/>
                  <a:gd name="connsiteX11" fmla="*/ 40958 w 100965"/>
                  <a:gd name="connsiteY11" fmla="*/ 67627 h 136207"/>
                  <a:gd name="connsiteX12" fmla="*/ 16193 w 100965"/>
                  <a:gd name="connsiteY12" fmla="*/ 22860 h 136207"/>
                  <a:gd name="connsiteX13" fmla="*/ 15240 w 100965"/>
                  <a:gd name="connsiteY13" fmla="*/ 22860 h 136207"/>
                  <a:gd name="connsiteX14" fmla="*/ 16193 w 100965"/>
                  <a:gd name="connsiteY14" fmla="*/ 78105 h 136207"/>
                  <a:gd name="connsiteX15" fmla="*/ 16193 w 100965"/>
                  <a:gd name="connsiteY15" fmla="*/ 135255 h 136207"/>
                  <a:gd name="connsiteX16" fmla="*/ 0 w 100965"/>
                  <a:gd name="connsiteY16" fmla="*/ 135255 h 136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0965" h="136207">
                    <a:moveTo>
                      <a:pt x="0" y="135255"/>
                    </a:moveTo>
                    <a:lnTo>
                      <a:pt x="0" y="0"/>
                    </a:lnTo>
                    <a:lnTo>
                      <a:pt x="19050" y="0"/>
                    </a:lnTo>
                    <a:lnTo>
                      <a:pt x="61913" y="68580"/>
                    </a:lnTo>
                    <a:cubicBezTo>
                      <a:pt x="71438" y="84773"/>
                      <a:pt x="80010" y="98107"/>
                      <a:pt x="85725" y="112395"/>
                    </a:cubicBezTo>
                    <a:lnTo>
                      <a:pt x="86678" y="112395"/>
                    </a:lnTo>
                    <a:cubicBezTo>
                      <a:pt x="84773" y="94298"/>
                      <a:pt x="84773" y="78105"/>
                      <a:pt x="84773" y="57150"/>
                    </a:cubicBezTo>
                    <a:lnTo>
                      <a:pt x="84773" y="952"/>
                    </a:lnTo>
                    <a:lnTo>
                      <a:pt x="100965" y="952"/>
                    </a:lnTo>
                    <a:lnTo>
                      <a:pt x="100965" y="136207"/>
                    </a:lnTo>
                    <a:lnTo>
                      <a:pt x="83820" y="136207"/>
                    </a:lnTo>
                    <a:lnTo>
                      <a:pt x="40958" y="67627"/>
                    </a:lnTo>
                    <a:cubicBezTo>
                      <a:pt x="31433" y="52388"/>
                      <a:pt x="22860" y="37148"/>
                      <a:pt x="16193" y="22860"/>
                    </a:cubicBezTo>
                    <a:lnTo>
                      <a:pt x="15240" y="22860"/>
                    </a:lnTo>
                    <a:cubicBezTo>
                      <a:pt x="16193" y="40005"/>
                      <a:pt x="16193" y="56198"/>
                      <a:pt x="16193" y="78105"/>
                    </a:cubicBezTo>
                    <a:lnTo>
                      <a:pt x="16193" y="135255"/>
                    </a:lnTo>
                    <a:lnTo>
                      <a:pt x="0" y="13525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8" name="Freeform: Shape 78">
                <a:extLst>
                  <a:ext uri="{FF2B5EF4-FFF2-40B4-BE49-F238E27FC236}">
                    <a16:creationId xmlns:a16="http://schemas.microsoft.com/office/drawing/2014/main" id="{5164666E-9151-7B01-6091-7CA9EC9AA82D}"/>
                  </a:ext>
                </a:extLst>
              </p:cNvPr>
              <p:cNvSpPr/>
              <p:nvPr/>
            </p:nvSpPr>
            <p:spPr>
              <a:xfrm>
                <a:off x="6543896" y="3715148"/>
                <a:ext cx="112395" cy="135255"/>
              </a:xfrm>
              <a:custGeom>
                <a:avLst/>
                <a:gdLst>
                  <a:gd name="connsiteX0" fmla="*/ 32385 w 112395"/>
                  <a:gd name="connsiteY0" fmla="*/ 92393 h 135255"/>
                  <a:gd name="connsiteX1" fmla="*/ 18097 w 112395"/>
                  <a:gd name="connsiteY1" fmla="*/ 135255 h 135255"/>
                  <a:gd name="connsiteX2" fmla="*/ 0 w 112395"/>
                  <a:gd name="connsiteY2" fmla="*/ 135255 h 135255"/>
                  <a:gd name="connsiteX3" fmla="*/ 45720 w 112395"/>
                  <a:gd name="connsiteY3" fmla="*/ 0 h 135255"/>
                  <a:gd name="connsiteX4" fmla="*/ 66675 w 112395"/>
                  <a:gd name="connsiteY4" fmla="*/ 0 h 135255"/>
                  <a:gd name="connsiteX5" fmla="*/ 112395 w 112395"/>
                  <a:gd name="connsiteY5" fmla="*/ 135255 h 135255"/>
                  <a:gd name="connsiteX6" fmla="*/ 93345 w 112395"/>
                  <a:gd name="connsiteY6" fmla="*/ 135255 h 135255"/>
                  <a:gd name="connsiteX7" fmla="*/ 79058 w 112395"/>
                  <a:gd name="connsiteY7" fmla="*/ 92393 h 135255"/>
                  <a:gd name="connsiteX8" fmla="*/ 32385 w 112395"/>
                  <a:gd name="connsiteY8" fmla="*/ 92393 h 135255"/>
                  <a:gd name="connsiteX9" fmla="*/ 77153 w 112395"/>
                  <a:gd name="connsiteY9" fmla="*/ 79057 h 135255"/>
                  <a:gd name="connsiteX10" fmla="*/ 63817 w 112395"/>
                  <a:gd name="connsiteY10" fmla="*/ 40005 h 135255"/>
                  <a:gd name="connsiteX11" fmla="*/ 57150 w 112395"/>
                  <a:gd name="connsiteY11" fmla="*/ 15240 h 135255"/>
                  <a:gd name="connsiteX12" fmla="*/ 57150 w 112395"/>
                  <a:gd name="connsiteY12" fmla="*/ 15240 h 135255"/>
                  <a:gd name="connsiteX13" fmla="*/ 50483 w 112395"/>
                  <a:gd name="connsiteY13" fmla="*/ 40005 h 135255"/>
                  <a:gd name="connsiteX14" fmla="*/ 37147 w 112395"/>
                  <a:gd name="connsiteY14" fmla="*/ 79057 h 135255"/>
                  <a:gd name="connsiteX15" fmla="*/ 77153 w 112395"/>
                  <a:gd name="connsiteY15" fmla="*/ 79057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395" h="135255">
                    <a:moveTo>
                      <a:pt x="32385" y="92393"/>
                    </a:moveTo>
                    <a:lnTo>
                      <a:pt x="18097" y="135255"/>
                    </a:lnTo>
                    <a:lnTo>
                      <a:pt x="0" y="135255"/>
                    </a:lnTo>
                    <a:lnTo>
                      <a:pt x="45720" y="0"/>
                    </a:lnTo>
                    <a:lnTo>
                      <a:pt x="66675" y="0"/>
                    </a:lnTo>
                    <a:lnTo>
                      <a:pt x="112395" y="135255"/>
                    </a:lnTo>
                    <a:lnTo>
                      <a:pt x="93345" y="135255"/>
                    </a:lnTo>
                    <a:lnTo>
                      <a:pt x="79058" y="92393"/>
                    </a:lnTo>
                    <a:lnTo>
                      <a:pt x="32385" y="92393"/>
                    </a:lnTo>
                    <a:close/>
                    <a:moveTo>
                      <a:pt x="77153" y="79057"/>
                    </a:moveTo>
                    <a:lnTo>
                      <a:pt x="63817" y="40005"/>
                    </a:lnTo>
                    <a:cubicBezTo>
                      <a:pt x="60960" y="31432"/>
                      <a:pt x="59055" y="22860"/>
                      <a:pt x="57150" y="15240"/>
                    </a:cubicBezTo>
                    <a:lnTo>
                      <a:pt x="57150" y="15240"/>
                    </a:lnTo>
                    <a:cubicBezTo>
                      <a:pt x="55245" y="22860"/>
                      <a:pt x="53340" y="31432"/>
                      <a:pt x="50483" y="40005"/>
                    </a:cubicBezTo>
                    <a:lnTo>
                      <a:pt x="37147" y="79057"/>
                    </a:lnTo>
                    <a:lnTo>
                      <a:pt x="77153" y="79057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9" name="Freeform: Shape 79">
                <a:extLst>
                  <a:ext uri="{FF2B5EF4-FFF2-40B4-BE49-F238E27FC236}">
                    <a16:creationId xmlns:a16="http://schemas.microsoft.com/office/drawing/2014/main" id="{96F14623-2CAF-5816-A5BA-2D1BA7D958BA}"/>
                  </a:ext>
                </a:extLst>
              </p:cNvPr>
              <p:cNvSpPr/>
              <p:nvPr/>
            </p:nvSpPr>
            <p:spPr>
              <a:xfrm>
                <a:off x="6673436" y="3715148"/>
                <a:ext cx="100012" cy="135255"/>
              </a:xfrm>
              <a:custGeom>
                <a:avLst/>
                <a:gdLst>
                  <a:gd name="connsiteX0" fmla="*/ 40957 w 100012"/>
                  <a:gd name="connsiteY0" fmla="*/ 15240 h 135255"/>
                  <a:gd name="connsiteX1" fmla="*/ 0 w 100012"/>
                  <a:gd name="connsiteY1" fmla="*/ 15240 h 135255"/>
                  <a:gd name="connsiteX2" fmla="*/ 0 w 100012"/>
                  <a:gd name="connsiteY2" fmla="*/ 0 h 135255"/>
                  <a:gd name="connsiteX3" fmla="*/ 100013 w 100012"/>
                  <a:gd name="connsiteY3" fmla="*/ 0 h 135255"/>
                  <a:gd name="connsiteX4" fmla="*/ 100013 w 100012"/>
                  <a:gd name="connsiteY4" fmla="*/ 15240 h 135255"/>
                  <a:gd name="connsiteX5" fmla="*/ 59055 w 100012"/>
                  <a:gd name="connsiteY5" fmla="*/ 15240 h 135255"/>
                  <a:gd name="connsiteX6" fmla="*/ 59055 w 100012"/>
                  <a:gd name="connsiteY6" fmla="*/ 135255 h 135255"/>
                  <a:gd name="connsiteX7" fmla="*/ 41910 w 100012"/>
                  <a:gd name="connsiteY7" fmla="*/ 135255 h 135255"/>
                  <a:gd name="connsiteX8" fmla="*/ 41910 w 100012"/>
                  <a:gd name="connsiteY8" fmla="*/ 1524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12" h="135255">
                    <a:moveTo>
                      <a:pt x="40957" y="15240"/>
                    </a:moveTo>
                    <a:lnTo>
                      <a:pt x="0" y="15240"/>
                    </a:lnTo>
                    <a:lnTo>
                      <a:pt x="0" y="0"/>
                    </a:lnTo>
                    <a:lnTo>
                      <a:pt x="100013" y="0"/>
                    </a:lnTo>
                    <a:lnTo>
                      <a:pt x="100013" y="15240"/>
                    </a:lnTo>
                    <a:lnTo>
                      <a:pt x="59055" y="15240"/>
                    </a:lnTo>
                    <a:lnTo>
                      <a:pt x="59055" y="135255"/>
                    </a:lnTo>
                    <a:lnTo>
                      <a:pt x="41910" y="135255"/>
                    </a:lnTo>
                    <a:lnTo>
                      <a:pt x="41910" y="1524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0" name="Freeform: Shape 80">
                <a:extLst>
                  <a:ext uri="{FF2B5EF4-FFF2-40B4-BE49-F238E27FC236}">
                    <a16:creationId xmlns:a16="http://schemas.microsoft.com/office/drawing/2014/main" id="{F9D8DCAF-C0AB-E4F6-FEEB-87A36E888BAC}"/>
                  </a:ext>
                </a:extLst>
              </p:cNvPr>
              <p:cNvSpPr/>
              <p:nvPr/>
            </p:nvSpPr>
            <p:spPr>
              <a:xfrm>
                <a:off x="6816311" y="3715148"/>
                <a:ext cx="17144" cy="135255"/>
              </a:xfrm>
              <a:custGeom>
                <a:avLst/>
                <a:gdLst>
                  <a:gd name="connsiteX0" fmla="*/ 17145 w 17144"/>
                  <a:gd name="connsiteY0" fmla="*/ 0 h 135255"/>
                  <a:gd name="connsiteX1" fmla="*/ 17145 w 17144"/>
                  <a:gd name="connsiteY1" fmla="*/ 135255 h 135255"/>
                  <a:gd name="connsiteX2" fmla="*/ 0 w 17144"/>
                  <a:gd name="connsiteY2" fmla="*/ 135255 h 135255"/>
                  <a:gd name="connsiteX3" fmla="*/ 0 w 17144"/>
                  <a:gd name="connsiteY3" fmla="*/ 0 h 135255"/>
                  <a:gd name="connsiteX4" fmla="*/ 17145 w 17144"/>
                  <a:gd name="connsiteY4" fmla="*/ 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4" h="135255">
                    <a:moveTo>
                      <a:pt x="17145" y="0"/>
                    </a:moveTo>
                    <a:lnTo>
                      <a:pt x="17145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1" name="Freeform: Shape 81">
                <a:extLst>
                  <a:ext uri="{FF2B5EF4-FFF2-40B4-BE49-F238E27FC236}">
                    <a16:creationId xmlns:a16="http://schemas.microsoft.com/office/drawing/2014/main" id="{982C02DC-C07A-DF12-B512-4358854EEEA3}"/>
                  </a:ext>
                </a:extLst>
              </p:cNvPr>
              <p:cNvSpPr/>
              <p:nvPr/>
            </p:nvSpPr>
            <p:spPr>
              <a:xfrm>
                <a:off x="6882986" y="3714172"/>
                <a:ext cx="123825" cy="139088"/>
              </a:xfrm>
              <a:custGeom>
                <a:avLst/>
                <a:gdLst>
                  <a:gd name="connsiteX0" fmla="*/ 123825 w 123825"/>
                  <a:gd name="connsiteY0" fmla="*/ 67651 h 139088"/>
                  <a:gd name="connsiteX1" fmla="*/ 60960 w 123825"/>
                  <a:gd name="connsiteY1" fmla="*/ 139089 h 139088"/>
                  <a:gd name="connsiteX2" fmla="*/ 0 w 123825"/>
                  <a:gd name="connsiteY2" fmla="*/ 70509 h 139088"/>
                  <a:gd name="connsiteX3" fmla="*/ 62865 w 123825"/>
                  <a:gd name="connsiteY3" fmla="*/ 24 h 139088"/>
                  <a:gd name="connsiteX4" fmla="*/ 123825 w 123825"/>
                  <a:gd name="connsiteY4" fmla="*/ 67651 h 139088"/>
                  <a:gd name="connsiteX5" fmla="*/ 19050 w 123825"/>
                  <a:gd name="connsiteY5" fmla="*/ 69556 h 139088"/>
                  <a:gd name="connsiteX6" fmla="*/ 61913 w 123825"/>
                  <a:gd name="connsiteY6" fmla="*/ 124801 h 139088"/>
                  <a:gd name="connsiteX7" fmla="*/ 104775 w 123825"/>
                  <a:gd name="connsiteY7" fmla="*/ 68604 h 139088"/>
                  <a:gd name="connsiteX8" fmla="*/ 61913 w 123825"/>
                  <a:gd name="connsiteY8" fmla="*/ 13359 h 139088"/>
                  <a:gd name="connsiteX9" fmla="*/ 19050 w 123825"/>
                  <a:gd name="connsiteY9" fmla="*/ 69556 h 139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3825" h="139088">
                    <a:moveTo>
                      <a:pt x="123825" y="67651"/>
                    </a:moveTo>
                    <a:cubicBezTo>
                      <a:pt x="123825" y="113371"/>
                      <a:pt x="95250" y="139089"/>
                      <a:pt x="60960" y="139089"/>
                    </a:cubicBezTo>
                    <a:cubicBezTo>
                      <a:pt x="24765" y="139089"/>
                      <a:pt x="0" y="111466"/>
                      <a:pt x="0" y="70509"/>
                    </a:cubicBezTo>
                    <a:cubicBezTo>
                      <a:pt x="0" y="27646"/>
                      <a:pt x="26670" y="24"/>
                      <a:pt x="62865" y="24"/>
                    </a:cubicBezTo>
                    <a:cubicBezTo>
                      <a:pt x="100013" y="-929"/>
                      <a:pt x="123825" y="26694"/>
                      <a:pt x="123825" y="67651"/>
                    </a:cubicBezTo>
                    <a:close/>
                    <a:moveTo>
                      <a:pt x="19050" y="69556"/>
                    </a:moveTo>
                    <a:cubicBezTo>
                      <a:pt x="19050" y="98131"/>
                      <a:pt x="34290" y="124801"/>
                      <a:pt x="61913" y="124801"/>
                    </a:cubicBezTo>
                    <a:cubicBezTo>
                      <a:pt x="89535" y="124801"/>
                      <a:pt x="104775" y="99084"/>
                      <a:pt x="104775" y="68604"/>
                    </a:cubicBezTo>
                    <a:cubicBezTo>
                      <a:pt x="104775" y="41934"/>
                      <a:pt x="90488" y="13359"/>
                      <a:pt x="61913" y="13359"/>
                    </a:cubicBezTo>
                    <a:cubicBezTo>
                      <a:pt x="33338" y="13359"/>
                      <a:pt x="19050" y="40029"/>
                      <a:pt x="19050" y="69556"/>
                    </a:cubicBez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2" name="Freeform: Shape 82">
                <a:extLst>
                  <a:ext uri="{FF2B5EF4-FFF2-40B4-BE49-F238E27FC236}">
                    <a16:creationId xmlns:a16="http://schemas.microsoft.com/office/drawing/2014/main" id="{536FE64D-0D5A-21A0-6698-14B70C5FB5F5}"/>
                  </a:ext>
                </a:extLst>
              </p:cNvPr>
              <p:cNvSpPr/>
              <p:nvPr/>
            </p:nvSpPr>
            <p:spPr>
              <a:xfrm>
                <a:off x="7057293" y="3715148"/>
                <a:ext cx="100965" cy="136207"/>
              </a:xfrm>
              <a:custGeom>
                <a:avLst/>
                <a:gdLst>
                  <a:gd name="connsiteX0" fmla="*/ 0 w 100965"/>
                  <a:gd name="connsiteY0" fmla="*/ 135255 h 136207"/>
                  <a:gd name="connsiteX1" fmla="*/ 0 w 100965"/>
                  <a:gd name="connsiteY1" fmla="*/ 0 h 136207"/>
                  <a:gd name="connsiteX2" fmla="*/ 19050 w 100965"/>
                  <a:gd name="connsiteY2" fmla="*/ 0 h 136207"/>
                  <a:gd name="connsiteX3" fmla="*/ 61913 w 100965"/>
                  <a:gd name="connsiteY3" fmla="*/ 68580 h 136207"/>
                  <a:gd name="connsiteX4" fmla="*/ 85725 w 100965"/>
                  <a:gd name="connsiteY4" fmla="*/ 112395 h 136207"/>
                  <a:gd name="connsiteX5" fmla="*/ 86678 w 100965"/>
                  <a:gd name="connsiteY5" fmla="*/ 112395 h 136207"/>
                  <a:gd name="connsiteX6" fmla="*/ 84772 w 100965"/>
                  <a:gd name="connsiteY6" fmla="*/ 57150 h 136207"/>
                  <a:gd name="connsiteX7" fmla="*/ 84772 w 100965"/>
                  <a:gd name="connsiteY7" fmla="*/ 952 h 136207"/>
                  <a:gd name="connsiteX8" fmla="*/ 100965 w 100965"/>
                  <a:gd name="connsiteY8" fmla="*/ 952 h 136207"/>
                  <a:gd name="connsiteX9" fmla="*/ 100965 w 100965"/>
                  <a:gd name="connsiteY9" fmla="*/ 136207 h 136207"/>
                  <a:gd name="connsiteX10" fmla="*/ 83820 w 100965"/>
                  <a:gd name="connsiteY10" fmla="*/ 136207 h 136207"/>
                  <a:gd name="connsiteX11" fmla="*/ 40958 w 100965"/>
                  <a:gd name="connsiteY11" fmla="*/ 67627 h 136207"/>
                  <a:gd name="connsiteX12" fmla="*/ 16193 w 100965"/>
                  <a:gd name="connsiteY12" fmla="*/ 22860 h 136207"/>
                  <a:gd name="connsiteX13" fmla="*/ 15240 w 100965"/>
                  <a:gd name="connsiteY13" fmla="*/ 22860 h 136207"/>
                  <a:gd name="connsiteX14" fmla="*/ 16193 w 100965"/>
                  <a:gd name="connsiteY14" fmla="*/ 78105 h 136207"/>
                  <a:gd name="connsiteX15" fmla="*/ 16193 w 100965"/>
                  <a:gd name="connsiteY15" fmla="*/ 135255 h 136207"/>
                  <a:gd name="connsiteX16" fmla="*/ 0 w 100965"/>
                  <a:gd name="connsiteY16" fmla="*/ 135255 h 136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0965" h="136207">
                    <a:moveTo>
                      <a:pt x="0" y="135255"/>
                    </a:moveTo>
                    <a:lnTo>
                      <a:pt x="0" y="0"/>
                    </a:lnTo>
                    <a:lnTo>
                      <a:pt x="19050" y="0"/>
                    </a:lnTo>
                    <a:lnTo>
                      <a:pt x="61913" y="68580"/>
                    </a:lnTo>
                    <a:cubicBezTo>
                      <a:pt x="71438" y="84773"/>
                      <a:pt x="80010" y="98107"/>
                      <a:pt x="85725" y="112395"/>
                    </a:cubicBezTo>
                    <a:lnTo>
                      <a:pt x="86678" y="112395"/>
                    </a:lnTo>
                    <a:cubicBezTo>
                      <a:pt x="84772" y="94298"/>
                      <a:pt x="84772" y="78105"/>
                      <a:pt x="84772" y="57150"/>
                    </a:cubicBezTo>
                    <a:lnTo>
                      <a:pt x="84772" y="952"/>
                    </a:lnTo>
                    <a:lnTo>
                      <a:pt x="100965" y="952"/>
                    </a:lnTo>
                    <a:lnTo>
                      <a:pt x="100965" y="136207"/>
                    </a:lnTo>
                    <a:lnTo>
                      <a:pt x="83820" y="136207"/>
                    </a:lnTo>
                    <a:lnTo>
                      <a:pt x="40958" y="67627"/>
                    </a:lnTo>
                    <a:cubicBezTo>
                      <a:pt x="31433" y="52388"/>
                      <a:pt x="22860" y="37148"/>
                      <a:pt x="16193" y="22860"/>
                    </a:cubicBezTo>
                    <a:lnTo>
                      <a:pt x="15240" y="22860"/>
                    </a:lnTo>
                    <a:cubicBezTo>
                      <a:pt x="16193" y="40005"/>
                      <a:pt x="16193" y="56198"/>
                      <a:pt x="16193" y="78105"/>
                    </a:cubicBezTo>
                    <a:lnTo>
                      <a:pt x="16193" y="135255"/>
                    </a:lnTo>
                    <a:lnTo>
                      <a:pt x="0" y="13525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3" name="Freeform: Shape 83">
                <a:extLst>
                  <a:ext uri="{FF2B5EF4-FFF2-40B4-BE49-F238E27FC236}">
                    <a16:creationId xmlns:a16="http://schemas.microsoft.com/office/drawing/2014/main" id="{C35E5A8E-AFE5-9705-C41D-296DC2DCF388}"/>
                  </a:ext>
                </a:extLst>
              </p:cNvPr>
              <p:cNvSpPr/>
              <p:nvPr/>
            </p:nvSpPr>
            <p:spPr>
              <a:xfrm>
                <a:off x="7205884" y="3715148"/>
                <a:ext cx="112394" cy="135255"/>
              </a:xfrm>
              <a:custGeom>
                <a:avLst/>
                <a:gdLst>
                  <a:gd name="connsiteX0" fmla="*/ 32385 w 112394"/>
                  <a:gd name="connsiteY0" fmla="*/ 92393 h 135255"/>
                  <a:gd name="connsiteX1" fmla="*/ 18097 w 112394"/>
                  <a:gd name="connsiteY1" fmla="*/ 135255 h 135255"/>
                  <a:gd name="connsiteX2" fmla="*/ 0 w 112394"/>
                  <a:gd name="connsiteY2" fmla="*/ 135255 h 135255"/>
                  <a:gd name="connsiteX3" fmla="*/ 45720 w 112394"/>
                  <a:gd name="connsiteY3" fmla="*/ 0 h 135255"/>
                  <a:gd name="connsiteX4" fmla="*/ 66675 w 112394"/>
                  <a:gd name="connsiteY4" fmla="*/ 0 h 135255"/>
                  <a:gd name="connsiteX5" fmla="*/ 112395 w 112394"/>
                  <a:gd name="connsiteY5" fmla="*/ 135255 h 135255"/>
                  <a:gd name="connsiteX6" fmla="*/ 93345 w 112394"/>
                  <a:gd name="connsiteY6" fmla="*/ 135255 h 135255"/>
                  <a:gd name="connsiteX7" fmla="*/ 79057 w 112394"/>
                  <a:gd name="connsiteY7" fmla="*/ 92393 h 135255"/>
                  <a:gd name="connsiteX8" fmla="*/ 32385 w 112394"/>
                  <a:gd name="connsiteY8" fmla="*/ 92393 h 135255"/>
                  <a:gd name="connsiteX9" fmla="*/ 76200 w 112394"/>
                  <a:gd name="connsiteY9" fmla="*/ 79057 h 135255"/>
                  <a:gd name="connsiteX10" fmla="*/ 62865 w 112394"/>
                  <a:gd name="connsiteY10" fmla="*/ 40005 h 135255"/>
                  <a:gd name="connsiteX11" fmla="*/ 56197 w 112394"/>
                  <a:gd name="connsiteY11" fmla="*/ 15240 h 135255"/>
                  <a:gd name="connsiteX12" fmla="*/ 56197 w 112394"/>
                  <a:gd name="connsiteY12" fmla="*/ 15240 h 135255"/>
                  <a:gd name="connsiteX13" fmla="*/ 49530 w 112394"/>
                  <a:gd name="connsiteY13" fmla="*/ 40005 h 135255"/>
                  <a:gd name="connsiteX14" fmla="*/ 36195 w 112394"/>
                  <a:gd name="connsiteY14" fmla="*/ 79057 h 135255"/>
                  <a:gd name="connsiteX15" fmla="*/ 76200 w 112394"/>
                  <a:gd name="connsiteY15" fmla="*/ 79057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394" h="135255">
                    <a:moveTo>
                      <a:pt x="32385" y="92393"/>
                    </a:moveTo>
                    <a:lnTo>
                      <a:pt x="18097" y="135255"/>
                    </a:lnTo>
                    <a:lnTo>
                      <a:pt x="0" y="135255"/>
                    </a:lnTo>
                    <a:lnTo>
                      <a:pt x="45720" y="0"/>
                    </a:lnTo>
                    <a:lnTo>
                      <a:pt x="66675" y="0"/>
                    </a:lnTo>
                    <a:lnTo>
                      <a:pt x="112395" y="135255"/>
                    </a:lnTo>
                    <a:lnTo>
                      <a:pt x="93345" y="135255"/>
                    </a:lnTo>
                    <a:lnTo>
                      <a:pt x="79057" y="92393"/>
                    </a:lnTo>
                    <a:lnTo>
                      <a:pt x="32385" y="92393"/>
                    </a:lnTo>
                    <a:close/>
                    <a:moveTo>
                      <a:pt x="76200" y="79057"/>
                    </a:moveTo>
                    <a:lnTo>
                      <a:pt x="62865" y="40005"/>
                    </a:lnTo>
                    <a:cubicBezTo>
                      <a:pt x="60007" y="31432"/>
                      <a:pt x="58103" y="22860"/>
                      <a:pt x="56197" y="15240"/>
                    </a:cubicBezTo>
                    <a:lnTo>
                      <a:pt x="56197" y="15240"/>
                    </a:lnTo>
                    <a:cubicBezTo>
                      <a:pt x="54293" y="22860"/>
                      <a:pt x="52388" y="31432"/>
                      <a:pt x="49530" y="40005"/>
                    </a:cubicBezTo>
                    <a:lnTo>
                      <a:pt x="36195" y="79057"/>
                    </a:lnTo>
                    <a:lnTo>
                      <a:pt x="76200" y="79057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4" name="Freeform: Shape 84">
                <a:extLst>
                  <a:ext uri="{FF2B5EF4-FFF2-40B4-BE49-F238E27FC236}">
                    <a16:creationId xmlns:a16="http://schemas.microsoft.com/office/drawing/2014/main" id="{D346BC4E-A9D4-F226-30CF-2172AC89E134}"/>
                  </a:ext>
                </a:extLst>
              </p:cNvPr>
              <p:cNvSpPr/>
              <p:nvPr/>
            </p:nvSpPr>
            <p:spPr>
              <a:xfrm>
                <a:off x="7364951" y="3715148"/>
                <a:ext cx="75247" cy="134302"/>
              </a:xfrm>
              <a:custGeom>
                <a:avLst/>
                <a:gdLst>
                  <a:gd name="connsiteX0" fmla="*/ 952 w 75247"/>
                  <a:gd name="connsiteY0" fmla="*/ 0 h 134302"/>
                  <a:gd name="connsiteX1" fmla="*/ 18097 w 75247"/>
                  <a:gd name="connsiteY1" fmla="*/ 0 h 134302"/>
                  <a:gd name="connsiteX2" fmla="*/ 18097 w 75247"/>
                  <a:gd name="connsiteY2" fmla="*/ 120015 h 134302"/>
                  <a:gd name="connsiteX3" fmla="*/ 75247 w 75247"/>
                  <a:gd name="connsiteY3" fmla="*/ 120015 h 134302"/>
                  <a:gd name="connsiteX4" fmla="*/ 75247 w 75247"/>
                  <a:gd name="connsiteY4" fmla="*/ 134302 h 134302"/>
                  <a:gd name="connsiteX5" fmla="*/ 0 w 75247"/>
                  <a:gd name="connsiteY5" fmla="*/ 134302 h 134302"/>
                  <a:gd name="connsiteX6" fmla="*/ 0 w 75247"/>
                  <a:gd name="connsiteY6" fmla="*/ 0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247" h="134302">
                    <a:moveTo>
                      <a:pt x="952" y="0"/>
                    </a:moveTo>
                    <a:lnTo>
                      <a:pt x="18097" y="0"/>
                    </a:lnTo>
                    <a:lnTo>
                      <a:pt x="18097" y="120015"/>
                    </a:lnTo>
                    <a:lnTo>
                      <a:pt x="75247" y="120015"/>
                    </a:lnTo>
                    <a:lnTo>
                      <a:pt x="75247" y="134302"/>
                    </a:lnTo>
                    <a:lnTo>
                      <a:pt x="0" y="13430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5" name="Freeform: Shape 85">
                <a:extLst>
                  <a:ext uri="{FF2B5EF4-FFF2-40B4-BE49-F238E27FC236}">
                    <a16:creationId xmlns:a16="http://schemas.microsoft.com/office/drawing/2014/main" id="{7F12868F-2134-25D7-3193-03C944D9CAF8}"/>
                  </a:ext>
                </a:extLst>
              </p:cNvPr>
              <p:cNvSpPr/>
              <p:nvPr/>
            </p:nvSpPr>
            <p:spPr>
              <a:xfrm>
                <a:off x="7550689" y="3713244"/>
                <a:ext cx="102869" cy="139064"/>
              </a:xfrm>
              <a:custGeom>
                <a:avLst/>
                <a:gdLst>
                  <a:gd name="connsiteX0" fmla="*/ 101917 w 102869"/>
                  <a:gd name="connsiteY0" fmla="*/ 132398 h 139064"/>
                  <a:gd name="connsiteX1" fmla="*/ 66675 w 102869"/>
                  <a:gd name="connsiteY1" fmla="*/ 139065 h 139064"/>
                  <a:gd name="connsiteX2" fmla="*/ 0 w 102869"/>
                  <a:gd name="connsiteY2" fmla="*/ 70485 h 139064"/>
                  <a:gd name="connsiteX3" fmla="*/ 70485 w 102869"/>
                  <a:gd name="connsiteY3" fmla="*/ 0 h 139064"/>
                  <a:gd name="connsiteX4" fmla="*/ 102870 w 102869"/>
                  <a:gd name="connsiteY4" fmla="*/ 5715 h 139064"/>
                  <a:gd name="connsiteX5" fmla="*/ 98107 w 102869"/>
                  <a:gd name="connsiteY5" fmla="*/ 20002 h 139064"/>
                  <a:gd name="connsiteX6" fmla="*/ 71438 w 102869"/>
                  <a:gd name="connsiteY6" fmla="*/ 14288 h 139064"/>
                  <a:gd name="connsiteX7" fmla="*/ 19050 w 102869"/>
                  <a:gd name="connsiteY7" fmla="*/ 69532 h 139064"/>
                  <a:gd name="connsiteX8" fmla="*/ 70485 w 102869"/>
                  <a:gd name="connsiteY8" fmla="*/ 123825 h 139064"/>
                  <a:gd name="connsiteX9" fmla="*/ 99060 w 102869"/>
                  <a:gd name="connsiteY9" fmla="*/ 118110 h 139064"/>
                  <a:gd name="connsiteX10" fmla="*/ 101917 w 102869"/>
                  <a:gd name="connsiteY10" fmla="*/ 132398 h 139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2869" h="139064">
                    <a:moveTo>
                      <a:pt x="101917" y="132398"/>
                    </a:moveTo>
                    <a:cubicBezTo>
                      <a:pt x="95250" y="135255"/>
                      <a:pt x="82867" y="139065"/>
                      <a:pt x="66675" y="139065"/>
                    </a:cubicBezTo>
                    <a:cubicBezTo>
                      <a:pt x="28575" y="139065"/>
                      <a:pt x="0" y="115252"/>
                      <a:pt x="0" y="70485"/>
                    </a:cubicBezTo>
                    <a:cubicBezTo>
                      <a:pt x="0" y="27623"/>
                      <a:pt x="28575" y="0"/>
                      <a:pt x="70485" y="0"/>
                    </a:cubicBezTo>
                    <a:cubicBezTo>
                      <a:pt x="86677" y="0"/>
                      <a:pt x="98107" y="3810"/>
                      <a:pt x="102870" y="5715"/>
                    </a:cubicBezTo>
                    <a:lnTo>
                      <a:pt x="98107" y="20002"/>
                    </a:lnTo>
                    <a:cubicBezTo>
                      <a:pt x="91440" y="17145"/>
                      <a:pt x="81915" y="14288"/>
                      <a:pt x="71438" y="14288"/>
                    </a:cubicBezTo>
                    <a:cubicBezTo>
                      <a:pt x="40005" y="14288"/>
                      <a:pt x="19050" y="34290"/>
                      <a:pt x="19050" y="69532"/>
                    </a:cubicBezTo>
                    <a:cubicBezTo>
                      <a:pt x="19050" y="102870"/>
                      <a:pt x="38100" y="123825"/>
                      <a:pt x="70485" y="123825"/>
                    </a:cubicBezTo>
                    <a:cubicBezTo>
                      <a:pt x="80963" y="123825"/>
                      <a:pt x="92392" y="121920"/>
                      <a:pt x="99060" y="118110"/>
                    </a:cubicBezTo>
                    <a:lnTo>
                      <a:pt x="101917" y="132398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6" name="Freeform: Shape 86">
                <a:extLst>
                  <a:ext uri="{FF2B5EF4-FFF2-40B4-BE49-F238E27FC236}">
                    <a16:creationId xmlns:a16="http://schemas.microsoft.com/office/drawing/2014/main" id="{43C57A65-FDDB-208C-69F8-8A4EACBF7D11}"/>
                  </a:ext>
                </a:extLst>
              </p:cNvPr>
              <p:cNvSpPr/>
              <p:nvPr/>
            </p:nvSpPr>
            <p:spPr>
              <a:xfrm>
                <a:off x="7701184" y="3715148"/>
                <a:ext cx="100012" cy="135255"/>
              </a:xfrm>
              <a:custGeom>
                <a:avLst/>
                <a:gdLst>
                  <a:gd name="connsiteX0" fmla="*/ 18097 w 100012"/>
                  <a:gd name="connsiteY0" fmla="*/ 0 h 135255"/>
                  <a:gd name="connsiteX1" fmla="*/ 18097 w 100012"/>
                  <a:gd name="connsiteY1" fmla="*/ 56198 h 135255"/>
                  <a:gd name="connsiteX2" fmla="*/ 82868 w 100012"/>
                  <a:gd name="connsiteY2" fmla="*/ 56198 h 135255"/>
                  <a:gd name="connsiteX3" fmla="*/ 82868 w 100012"/>
                  <a:gd name="connsiteY3" fmla="*/ 0 h 135255"/>
                  <a:gd name="connsiteX4" fmla="*/ 100013 w 100012"/>
                  <a:gd name="connsiteY4" fmla="*/ 0 h 135255"/>
                  <a:gd name="connsiteX5" fmla="*/ 100013 w 100012"/>
                  <a:gd name="connsiteY5" fmla="*/ 135255 h 135255"/>
                  <a:gd name="connsiteX6" fmla="*/ 82868 w 100012"/>
                  <a:gd name="connsiteY6" fmla="*/ 135255 h 135255"/>
                  <a:gd name="connsiteX7" fmla="*/ 82868 w 100012"/>
                  <a:gd name="connsiteY7" fmla="*/ 72390 h 135255"/>
                  <a:gd name="connsiteX8" fmla="*/ 18097 w 100012"/>
                  <a:gd name="connsiteY8" fmla="*/ 72390 h 135255"/>
                  <a:gd name="connsiteX9" fmla="*/ 18097 w 100012"/>
                  <a:gd name="connsiteY9" fmla="*/ 135255 h 135255"/>
                  <a:gd name="connsiteX10" fmla="*/ 0 w 100012"/>
                  <a:gd name="connsiteY10" fmla="*/ 135255 h 135255"/>
                  <a:gd name="connsiteX11" fmla="*/ 0 w 100012"/>
                  <a:gd name="connsiteY11" fmla="*/ 0 h 135255"/>
                  <a:gd name="connsiteX12" fmla="*/ 18097 w 100012"/>
                  <a:gd name="connsiteY12" fmla="*/ 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0012" h="135255">
                    <a:moveTo>
                      <a:pt x="18097" y="0"/>
                    </a:moveTo>
                    <a:lnTo>
                      <a:pt x="18097" y="56198"/>
                    </a:lnTo>
                    <a:lnTo>
                      <a:pt x="82868" y="56198"/>
                    </a:lnTo>
                    <a:lnTo>
                      <a:pt x="82868" y="0"/>
                    </a:lnTo>
                    <a:lnTo>
                      <a:pt x="100013" y="0"/>
                    </a:lnTo>
                    <a:lnTo>
                      <a:pt x="100013" y="135255"/>
                    </a:lnTo>
                    <a:lnTo>
                      <a:pt x="82868" y="135255"/>
                    </a:lnTo>
                    <a:lnTo>
                      <a:pt x="82868" y="72390"/>
                    </a:lnTo>
                    <a:lnTo>
                      <a:pt x="18097" y="72390"/>
                    </a:lnTo>
                    <a:lnTo>
                      <a:pt x="18097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18097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7" name="Freeform: Shape 87">
                <a:extLst>
                  <a:ext uri="{FF2B5EF4-FFF2-40B4-BE49-F238E27FC236}">
                    <a16:creationId xmlns:a16="http://schemas.microsoft.com/office/drawing/2014/main" id="{4AA2B5E8-42F1-A316-8EE3-1503A47C7DA4}"/>
                  </a:ext>
                </a:extLst>
              </p:cNvPr>
              <p:cNvSpPr/>
              <p:nvPr/>
            </p:nvSpPr>
            <p:spPr>
              <a:xfrm>
                <a:off x="7859299" y="3714196"/>
                <a:ext cx="76200" cy="135254"/>
              </a:xfrm>
              <a:custGeom>
                <a:avLst/>
                <a:gdLst>
                  <a:gd name="connsiteX0" fmla="*/ 70485 w 76200"/>
                  <a:gd name="connsiteY0" fmla="*/ 72390 h 135254"/>
                  <a:gd name="connsiteX1" fmla="*/ 18097 w 76200"/>
                  <a:gd name="connsiteY1" fmla="*/ 72390 h 135254"/>
                  <a:gd name="connsiteX2" fmla="*/ 18097 w 76200"/>
                  <a:gd name="connsiteY2" fmla="*/ 120967 h 135254"/>
                  <a:gd name="connsiteX3" fmla="*/ 76200 w 76200"/>
                  <a:gd name="connsiteY3" fmla="*/ 120967 h 135254"/>
                  <a:gd name="connsiteX4" fmla="*/ 76200 w 76200"/>
                  <a:gd name="connsiteY4" fmla="*/ 135255 h 135254"/>
                  <a:gd name="connsiteX5" fmla="*/ 0 w 76200"/>
                  <a:gd name="connsiteY5" fmla="*/ 135255 h 135254"/>
                  <a:gd name="connsiteX6" fmla="*/ 0 w 76200"/>
                  <a:gd name="connsiteY6" fmla="*/ 0 h 135254"/>
                  <a:gd name="connsiteX7" fmla="*/ 73342 w 76200"/>
                  <a:gd name="connsiteY7" fmla="*/ 0 h 135254"/>
                  <a:gd name="connsiteX8" fmla="*/ 73342 w 76200"/>
                  <a:gd name="connsiteY8" fmla="*/ 14288 h 135254"/>
                  <a:gd name="connsiteX9" fmla="*/ 18097 w 76200"/>
                  <a:gd name="connsiteY9" fmla="*/ 14288 h 135254"/>
                  <a:gd name="connsiteX10" fmla="*/ 18097 w 76200"/>
                  <a:gd name="connsiteY10" fmla="*/ 57150 h 135254"/>
                  <a:gd name="connsiteX11" fmla="*/ 70485 w 76200"/>
                  <a:gd name="connsiteY11" fmla="*/ 57150 h 135254"/>
                  <a:gd name="connsiteX12" fmla="*/ 70485 w 76200"/>
                  <a:gd name="connsiteY12" fmla="*/ 72390 h 13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6200" h="135254">
                    <a:moveTo>
                      <a:pt x="70485" y="72390"/>
                    </a:moveTo>
                    <a:lnTo>
                      <a:pt x="18097" y="72390"/>
                    </a:lnTo>
                    <a:lnTo>
                      <a:pt x="18097" y="120967"/>
                    </a:lnTo>
                    <a:lnTo>
                      <a:pt x="76200" y="120967"/>
                    </a:lnTo>
                    <a:lnTo>
                      <a:pt x="76200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73342" y="0"/>
                    </a:lnTo>
                    <a:lnTo>
                      <a:pt x="73342" y="14288"/>
                    </a:lnTo>
                    <a:lnTo>
                      <a:pt x="18097" y="14288"/>
                    </a:lnTo>
                    <a:lnTo>
                      <a:pt x="18097" y="57150"/>
                    </a:lnTo>
                    <a:lnTo>
                      <a:pt x="70485" y="57150"/>
                    </a:lnTo>
                    <a:lnTo>
                      <a:pt x="70485" y="7239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8" name="Freeform: Shape 88">
                <a:extLst>
                  <a:ext uri="{FF2B5EF4-FFF2-40B4-BE49-F238E27FC236}">
                    <a16:creationId xmlns:a16="http://schemas.microsoft.com/office/drawing/2014/main" id="{842669B4-20E9-CC4D-DC68-3E48DC75C297}"/>
                  </a:ext>
                </a:extLst>
              </p:cNvPr>
              <p:cNvSpPr/>
              <p:nvPr/>
            </p:nvSpPr>
            <p:spPr>
              <a:xfrm>
                <a:off x="7983124" y="3717054"/>
                <a:ext cx="136207" cy="135254"/>
              </a:xfrm>
              <a:custGeom>
                <a:avLst/>
                <a:gdLst>
                  <a:gd name="connsiteX0" fmla="*/ 116205 w 136207"/>
                  <a:gd name="connsiteY0" fmla="*/ 74295 h 135254"/>
                  <a:gd name="connsiteX1" fmla="*/ 114300 w 136207"/>
                  <a:gd name="connsiteY1" fmla="*/ 16192 h 135254"/>
                  <a:gd name="connsiteX2" fmla="*/ 114300 w 136207"/>
                  <a:gd name="connsiteY2" fmla="*/ 16192 h 135254"/>
                  <a:gd name="connsiteX3" fmla="*/ 97155 w 136207"/>
                  <a:gd name="connsiteY3" fmla="*/ 67627 h 135254"/>
                  <a:gd name="connsiteX4" fmla="*/ 73342 w 136207"/>
                  <a:gd name="connsiteY4" fmla="*/ 133350 h 135254"/>
                  <a:gd name="connsiteX5" fmla="*/ 60007 w 136207"/>
                  <a:gd name="connsiteY5" fmla="*/ 133350 h 135254"/>
                  <a:gd name="connsiteX6" fmla="*/ 38100 w 136207"/>
                  <a:gd name="connsiteY6" fmla="*/ 69533 h 135254"/>
                  <a:gd name="connsiteX7" fmla="*/ 22860 w 136207"/>
                  <a:gd name="connsiteY7" fmla="*/ 17145 h 135254"/>
                  <a:gd name="connsiteX8" fmla="*/ 22860 w 136207"/>
                  <a:gd name="connsiteY8" fmla="*/ 17145 h 135254"/>
                  <a:gd name="connsiteX9" fmla="*/ 20003 w 136207"/>
                  <a:gd name="connsiteY9" fmla="*/ 77152 h 135254"/>
                  <a:gd name="connsiteX10" fmla="*/ 16192 w 136207"/>
                  <a:gd name="connsiteY10" fmla="*/ 135255 h 135254"/>
                  <a:gd name="connsiteX11" fmla="*/ 0 w 136207"/>
                  <a:gd name="connsiteY11" fmla="*/ 135255 h 135254"/>
                  <a:gd name="connsiteX12" fmla="*/ 9525 w 136207"/>
                  <a:gd name="connsiteY12" fmla="*/ 0 h 135254"/>
                  <a:gd name="connsiteX13" fmla="*/ 31432 w 136207"/>
                  <a:gd name="connsiteY13" fmla="*/ 0 h 135254"/>
                  <a:gd name="connsiteX14" fmla="*/ 54292 w 136207"/>
                  <a:gd name="connsiteY14" fmla="*/ 64770 h 135254"/>
                  <a:gd name="connsiteX15" fmla="*/ 67628 w 136207"/>
                  <a:gd name="connsiteY15" fmla="*/ 110490 h 135254"/>
                  <a:gd name="connsiteX16" fmla="*/ 67628 w 136207"/>
                  <a:gd name="connsiteY16" fmla="*/ 110490 h 135254"/>
                  <a:gd name="connsiteX17" fmla="*/ 81915 w 136207"/>
                  <a:gd name="connsiteY17" fmla="*/ 64770 h 135254"/>
                  <a:gd name="connsiteX18" fmla="*/ 105728 w 136207"/>
                  <a:gd name="connsiteY18" fmla="*/ 0 h 135254"/>
                  <a:gd name="connsiteX19" fmla="*/ 127635 w 136207"/>
                  <a:gd name="connsiteY19" fmla="*/ 0 h 135254"/>
                  <a:gd name="connsiteX20" fmla="*/ 136207 w 136207"/>
                  <a:gd name="connsiteY20" fmla="*/ 135255 h 135254"/>
                  <a:gd name="connsiteX21" fmla="*/ 119063 w 136207"/>
                  <a:gd name="connsiteY21" fmla="*/ 135255 h 135254"/>
                  <a:gd name="connsiteX22" fmla="*/ 116205 w 136207"/>
                  <a:gd name="connsiteY22" fmla="*/ 74295 h 13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36207" h="135254">
                    <a:moveTo>
                      <a:pt x="116205" y="74295"/>
                    </a:moveTo>
                    <a:cubicBezTo>
                      <a:pt x="115253" y="55245"/>
                      <a:pt x="114300" y="32385"/>
                      <a:pt x="114300" y="16192"/>
                    </a:cubicBezTo>
                    <a:lnTo>
                      <a:pt x="114300" y="16192"/>
                    </a:lnTo>
                    <a:cubicBezTo>
                      <a:pt x="109538" y="31433"/>
                      <a:pt x="103822" y="48577"/>
                      <a:pt x="97155" y="67627"/>
                    </a:cubicBezTo>
                    <a:lnTo>
                      <a:pt x="73342" y="133350"/>
                    </a:lnTo>
                    <a:lnTo>
                      <a:pt x="60007" y="133350"/>
                    </a:lnTo>
                    <a:lnTo>
                      <a:pt x="38100" y="69533"/>
                    </a:lnTo>
                    <a:cubicBezTo>
                      <a:pt x="31432" y="50483"/>
                      <a:pt x="26670" y="33338"/>
                      <a:pt x="22860" y="17145"/>
                    </a:cubicBezTo>
                    <a:lnTo>
                      <a:pt x="22860" y="17145"/>
                    </a:lnTo>
                    <a:cubicBezTo>
                      <a:pt x="22860" y="34290"/>
                      <a:pt x="21907" y="56197"/>
                      <a:pt x="20003" y="77152"/>
                    </a:cubicBezTo>
                    <a:lnTo>
                      <a:pt x="16192" y="135255"/>
                    </a:lnTo>
                    <a:lnTo>
                      <a:pt x="0" y="135255"/>
                    </a:lnTo>
                    <a:lnTo>
                      <a:pt x="9525" y="0"/>
                    </a:lnTo>
                    <a:lnTo>
                      <a:pt x="31432" y="0"/>
                    </a:lnTo>
                    <a:lnTo>
                      <a:pt x="54292" y="64770"/>
                    </a:lnTo>
                    <a:cubicBezTo>
                      <a:pt x="60007" y="80963"/>
                      <a:pt x="64770" y="96202"/>
                      <a:pt x="67628" y="110490"/>
                    </a:cubicBezTo>
                    <a:lnTo>
                      <a:pt x="67628" y="110490"/>
                    </a:lnTo>
                    <a:cubicBezTo>
                      <a:pt x="71438" y="97155"/>
                      <a:pt x="76200" y="81915"/>
                      <a:pt x="81915" y="64770"/>
                    </a:cubicBezTo>
                    <a:lnTo>
                      <a:pt x="105728" y="0"/>
                    </a:lnTo>
                    <a:lnTo>
                      <a:pt x="127635" y="0"/>
                    </a:lnTo>
                    <a:lnTo>
                      <a:pt x="136207" y="135255"/>
                    </a:lnTo>
                    <a:lnTo>
                      <a:pt x="119063" y="135255"/>
                    </a:lnTo>
                    <a:lnTo>
                      <a:pt x="116205" y="7429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9" name="Freeform: Shape 89">
                <a:extLst>
                  <a:ext uri="{FF2B5EF4-FFF2-40B4-BE49-F238E27FC236}">
                    <a16:creationId xmlns:a16="http://schemas.microsoft.com/office/drawing/2014/main" id="{81D63BBE-6505-906E-7A7D-E42AB84CC0AE}"/>
                  </a:ext>
                </a:extLst>
              </p:cNvPr>
              <p:cNvSpPr/>
              <p:nvPr/>
            </p:nvSpPr>
            <p:spPr>
              <a:xfrm>
                <a:off x="8174576" y="3715148"/>
                <a:ext cx="17144" cy="135255"/>
              </a:xfrm>
              <a:custGeom>
                <a:avLst/>
                <a:gdLst>
                  <a:gd name="connsiteX0" fmla="*/ 17145 w 17144"/>
                  <a:gd name="connsiteY0" fmla="*/ 0 h 135255"/>
                  <a:gd name="connsiteX1" fmla="*/ 17145 w 17144"/>
                  <a:gd name="connsiteY1" fmla="*/ 135255 h 135255"/>
                  <a:gd name="connsiteX2" fmla="*/ 0 w 17144"/>
                  <a:gd name="connsiteY2" fmla="*/ 135255 h 135255"/>
                  <a:gd name="connsiteX3" fmla="*/ 0 w 17144"/>
                  <a:gd name="connsiteY3" fmla="*/ 0 h 135255"/>
                  <a:gd name="connsiteX4" fmla="*/ 17145 w 17144"/>
                  <a:gd name="connsiteY4" fmla="*/ 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4" h="135255">
                    <a:moveTo>
                      <a:pt x="17145" y="0"/>
                    </a:moveTo>
                    <a:lnTo>
                      <a:pt x="17145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0" name="Freeform: Shape 90">
                <a:extLst>
                  <a:ext uri="{FF2B5EF4-FFF2-40B4-BE49-F238E27FC236}">
                    <a16:creationId xmlns:a16="http://schemas.microsoft.com/office/drawing/2014/main" id="{AB5CC2A6-CBA3-FB0F-29CD-BD57E6D09FD4}"/>
                  </a:ext>
                </a:extLst>
              </p:cNvPr>
              <p:cNvSpPr/>
              <p:nvPr/>
            </p:nvSpPr>
            <p:spPr>
              <a:xfrm>
                <a:off x="8242203" y="3713244"/>
                <a:ext cx="102870" cy="139064"/>
              </a:xfrm>
              <a:custGeom>
                <a:avLst/>
                <a:gdLst>
                  <a:gd name="connsiteX0" fmla="*/ 101918 w 102870"/>
                  <a:gd name="connsiteY0" fmla="*/ 132398 h 139064"/>
                  <a:gd name="connsiteX1" fmla="*/ 66675 w 102870"/>
                  <a:gd name="connsiteY1" fmla="*/ 139065 h 139064"/>
                  <a:gd name="connsiteX2" fmla="*/ 0 w 102870"/>
                  <a:gd name="connsiteY2" fmla="*/ 70485 h 139064"/>
                  <a:gd name="connsiteX3" fmla="*/ 70485 w 102870"/>
                  <a:gd name="connsiteY3" fmla="*/ 0 h 139064"/>
                  <a:gd name="connsiteX4" fmla="*/ 102870 w 102870"/>
                  <a:gd name="connsiteY4" fmla="*/ 5715 h 139064"/>
                  <a:gd name="connsiteX5" fmla="*/ 98108 w 102870"/>
                  <a:gd name="connsiteY5" fmla="*/ 20002 h 139064"/>
                  <a:gd name="connsiteX6" fmla="*/ 71438 w 102870"/>
                  <a:gd name="connsiteY6" fmla="*/ 14288 h 139064"/>
                  <a:gd name="connsiteX7" fmla="*/ 19050 w 102870"/>
                  <a:gd name="connsiteY7" fmla="*/ 69532 h 139064"/>
                  <a:gd name="connsiteX8" fmla="*/ 70485 w 102870"/>
                  <a:gd name="connsiteY8" fmla="*/ 123825 h 139064"/>
                  <a:gd name="connsiteX9" fmla="*/ 99060 w 102870"/>
                  <a:gd name="connsiteY9" fmla="*/ 118110 h 139064"/>
                  <a:gd name="connsiteX10" fmla="*/ 101918 w 102870"/>
                  <a:gd name="connsiteY10" fmla="*/ 132398 h 139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2870" h="139064">
                    <a:moveTo>
                      <a:pt x="101918" y="132398"/>
                    </a:moveTo>
                    <a:cubicBezTo>
                      <a:pt x="95250" y="135255"/>
                      <a:pt x="82868" y="139065"/>
                      <a:pt x="66675" y="139065"/>
                    </a:cubicBezTo>
                    <a:cubicBezTo>
                      <a:pt x="28575" y="139065"/>
                      <a:pt x="0" y="115252"/>
                      <a:pt x="0" y="70485"/>
                    </a:cubicBezTo>
                    <a:cubicBezTo>
                      <a:pt x="0" y="27623"/>
                      <a:pt x="28575" y="0"/>
                      <a:pt x="70485" y="0"/>
                    </a:cubicBezTo>
                    <a:cubicBezTo>
                      <a:pt x="86678" y="0"/>
                      <a:pt x="98108" y="3810"/>
                      <a:pt x="102870" y="5715"/>
                    </a:cubicBezTo>
                    <a:lnTo>
                      <a:pt x="98108" y="20002"/>
                    </a:lnTo>
                    <a:cubicBezTo>
                      <a:pt x="91440" y="17145"/>
                      <a:pt x="81915" y="14288"/>
                      <a:pt x="71438" y="14288"/>
                    </a:cubicBezTo>
                    <a:cubicBezTo>
                      <a:pt x="40005" y="14288"/>
                      <a:pt x="19050" y="34290"/>
                      <a:pt x="19050" y="69532"/>
                    </a:cubicBezTo>
                    <a:cubicBezTo>
                      <a:pt x="19050" y="102870"/>
                      <a:pt x="38100" y="123825"/>
                      <a:pt x="70485" y="123825"/>
                    </a:cubicBezTo>
                    <a:cubicBezTo>
                      <a:pt x="80963" y="123825"/>
                      <a:pt x="92393" y="121920"/>
                      <a:pt x="99060" y="118110"/>
                    </a:cubicBezTo>
                    <a:lnTo>
                      <a:pt x="101918" y="132398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1" name="Freeform: Shape 91">
                <a:extLst>
                  <a:ext uri="{FF2B5EF4-FFF2-40B4-BE49-F238E27FC236}">
                    <a16:creationId xmlns:a16="http://schemas.microsoft.com/office/drawing/2014/main" id="{53DADEFB-5AAD-FA1E-74EC-3921785C64C2}"/>
                  </a:ext>
                </a:extLst>
              </p:cNvPr>
              <p:cNvSpPr/>
              <p:nvPr/>
            </p:nvSpPr>
            <p:spPr>
              <a:xfrm>
                <a:off x="8383174" y="3715148"/>
                <a:ext cx="112394" cy="135255"/>
              </a:xfrm>
              <a:custGeom>
                <a:avLst/>
                <a:gdLst>
                  <a:gd name="connsiteX0" fmla="*/ 32385 w 112394"/>
                  <a:gd name="connsiteY0" fmla="*/ 92393 h 135255"/>
                  <a:gd name="connsiteX1" fmla="*/ 18097 w 112394"/>
                  <a:gd name="connsiteY1" fmla="*/ 135255 h 135255"/>
                  <a:gd name="connsiteX2" fmla="*/ 0 w 112394"/>
                  <a:gd name="connsiteY2" fmla="*/ 135255 h 135255"/>
                  <a:gd name="connsiteX3" fmla="*/ 45720 w 112394"/>
                  <a:gd name="connsiteY3" fmla="*/ 0 h 135255"/>
                  <a:gd name="connsiteX4" fmla="*/ 66675 w 112394"/>
                  <a:gd name="connsiteY4" fmla="*/ 0 h 135255"/>
                  <a:gd name="connsiteX5" fmla="*/ 112395 w 112394"/>
                  <a:gd name="connsiteY5" fmla="*/ 135255 h 135255"/>
                  <a:gd name="connsiteX6" fmla="*/ 93345 w 112394"/>
                  <a:gd name="connsiteY6" fmla="*/ 135255 h 135255"/>
                  <a:gd name="connsiteX7" fmla="*/ 79057 w 112394"/>
                  <a:gd name="connsiteY7" fmla="*/ 92393 h 135255"/>
                  <a:gd name="connsiteX8" fmla="*/ 32385 w 112394"/>
                  <a:gd name="connsiteY8" fmla="*/ 92393 h 135255"/>
                  <a:gd name="connsiteX9" fmla="*/ 77153 w 112394"/>
                  <a:gd name="connsiteY9" fmla="*/ 79057 h 135255"/>
                  <a:gd name="connsiteX10" fmla="*/ 63817 w 112394"/>
                  <a:gd name="connsiteY10" fmla="*/ 40005 h 135255"/>
                  <a:gd name="connsiteX11" fmla="*/ 57150 w 112394"/>
                  <a:gd name="connsiteY11" fmla="*/ 15240 h 135255"/>
                  <a:gd name="connsiteX12" fmla="*/ 57150 w 112394"/>
                  <a:gd name="connsiteY12" fmla="*/ 15240 h 135255"/>
                  <a:gd name="connsiteX13" fmla="*/ 50482 w 112394"/>
                  <a:gd name="connsiteY13" fmla="*/ 40005 h 135255"/>
                  <a:gd name="connsiteX14" fmla="*/ 37147 w 112394"/>
                  <a:gd name="connsiteY14" fmla="*/ 79057 h 135255"/>
                  <a:gd name="connsiteX15" fmla="*/ 77153 w 112394"/>
                  <a:gd name="connsiteY15" fmla="*/ 79057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394" h="135255">
                    <a:moveTo>
                      <a:pt x="32385" y="92393"/>
                    </a:moveTo>
                    <a:lnTo>
                      <a:pt x="18097" y="135255"/>
                    </a:lnTo>
                    <a:lnTo>
                      <a:pt x="0" y="135255"/>
                    </a:lnTo>
                    <a:lnTo>
                      <a:pt x="45720" y="0"/>
                    </a:lnTo>
                    <a:lnTo>
                      <a:pt x="66675" y="0"/>
                    </a:lnTo>
                    <a:lnTo>
                      <a:pt x="112395" y="135255"/>
                    </a:lnTo>
                    <a:lnTo>
                      <a:pt x="93345" y="135255"/>
                    </a:lnTo>
                    <a:lnTo>
                      <a:pt x="79057" y="92393"/>
                    </a:lnTo>
                    <a:lnTo>
                      <a:pt x="32385" y="92393"/>
                    </a:lnTo>
                    <a:close/>
                    <a:moveTo>
                      <a:pt x="77153" y="79057"/>
                    </a:moveTo>
                    <a:lnTo>
                      <a:pt x="63817" y="40005"/>
                    </a:lnTo>
                    <a:cubicBezTo>
                      <a:pt x="60960" y="31432"/>
                      <a:pt x="59055" y="22860"/>
                      <a:pt x="57150" y="15240"/>
                    </a:cubicBezTo>
                    <a:lnTo>
                      <a:pt x="57150" y="15240"/>
                    </a:lnTo>
                    <a:cubicBezTo>
                      <a:pt x="55245" y="22860"/>
                      <a:pt x="53340" y="31432"/>
                      <a:pt x="50482" y="40005"/>
                    </a:cubicBezTo>
                    <a:lnTo>
                      <a:pt x="37147" y="79057"/>
                    </a:lnTo>
                    <a:lnTo>
                      <a:pt x="77153" y="79057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2" name="Freeform: Shape 92">
                <a:extLst>
                  <a:ext uri="{FF2B5EF4-FFF2-40B4-BE49-F238E27FC236}">
                    <a16:creationId xmlns:a16="http://schemas.microsoft.com/office/drawing/2014/main" id="{696C942D-2B3B-2AAB-75C0-FC30B4AAB51B}"/>
                  </a:ext>
                </a:extLst>
              </p:cNvPr>
              <p:cNvSpPr/>
              <p:nvPr/>
            </p:nvSpPr>
            <p:spPr>
              <a:xfrm>
                <a:off x="8543193" y="3715148"/>
                <a:ext cx="75247" cy="134302"/>
              </a:xfrm>
              <a:custGeom>
                <a:avLst/>
                <a:gdLst>
                  <a:gd name="connsiteX0" fmla="*/ 953 w 75247"/>
                  <a:gd name="connsiteY0" fmla="*/ 0 h 134302"/>
                  <a:gd name="connsiteX1" fmla="*/ 18097 w 75247"/>
                  <a:gd name="connsiteY1" fmla="*/ 0 h 134302"/>
                  <a:gd name="connsiteX2" fmla="*/ 18097 w 75247"/>
                  <a:gd name="connsiteY2" fmla="*/ 120015 h 134302"/>
                  <a:gd name="connsiteX3" fmla="*/ 75247 w 75247"/>
                  <a:gd name="connsiteY3" fmla="*/ 120015 h 134302"/>
                  <a:gd name="connsiteX4" fmla="*/ 75247 w 75247"/>
                  <a:gd name="connsiteY4" fmla="*/ 134302 h 134302"/>
                  <a:gd name="connsiteX5" fmla="*/ 0 w 75247"/>
                  <a:gd name="connsiteY5" fmla="*/ 134302 h 134302"/>
                  <a:gd name="connsiteX6" fmla="*/ 0 w 75247"/>
                  <a:gd name="connsiteY6" fmla="*/ 0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247" h="134302">
                    <a:moveTo>
                      <a:pt x="953" y="0"/>
                    </a:moveTo>
                    <a:lnTo>
                      <a:pt x="18097" y="0"/>
                    </a:lnTo>
                    <a:lnTo>
                      <a:pt x="18097" y="120015"/>
                    </a:lnTo>
                    <a:lnTo>
                      <a:pt x="75247" y="120015"/>
                    </a:lnTo>
                    <a:lnTo>
                      <a:pt x="75247" y="134302"/>
                    </a:lnTo>
                    <a:lnTo>
                      <a:pt x="0" y="13430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3" name="Freeform: Shape 93">
                <a:extLst>
                  <a:ext uri="{FF2B5EF4-FFF2-40B4-BE49-F238E27FC236}">
                    <a16:creationId xmlns:a16="http://schemas.microsoft.com/office/drawing/2014/main" id="{5B51740E-521C-97CB-6EED-EED1B7281722}"/>
                  </a:ext>
                </a:extLst>
              </p:cNvPr>
              <p:cNvSpPr/>
              <p:nvPr/>
            </p:nvSpPr>
            <p:spPr>
              <a:xfrm>
                <a:off x="8729884" y="3713244"/>
                <a:ext cx="80962" cy="139064"/>
              </a:xfrm>
              <a:custGeom>
                <a:avLst/>
                <a:gdLst>
                  <a:gd name="connsiteX0" fmla="*/ 3810 w 80962"/>
                  <a:gd name="connsiteY0" fmla="*/ 115252 h 139064"/>
                  <a:gd name="connsiteX1" fmla="*/ 35243 w 80962"/>
                  <a:gd name="connsiteY1" fmla="*/ 123825 h 139064"/>
                  <a:gd name="connsiteX2" fmla="*/ 63818 w 80962"/>
                  <a:gd name="connsiteY2" fmla="*/ 100965 h 139064"/>
                  <a:gd name="connsiteX3" fmla="*/ 38100 w 80962"/>
                  <a:gd name="connsiteY3" fmla="*/ 74295 h 139064"/>
                  <a:gd name="connsiteX4" fmla="*/ 2857 w 80962"/>
                  <a:gd name="connsiteY4" fmla="*/ 36195 h 139064"/>
                  <a:gd name="connsiteX5" fmla="*/ 46672 w 80962"/>
                  <a:gd name="connsiteY5" fmla="*/ 0 h 139064"/>
                  <a:gd name="connsiteX6" fmla="*/ 76200 w 80962"/>
                  <a:gd name="connsiteY6" fmla="*/ 6667 h 139064"/>
                  <a:gd name="connsiteX7" fmla="*/ 71438 w 80962"/>
                  <a:gd name="connsiteY7" fmla="*/ 20955 h 139064"/>
                  <a:gd name="connsiteX8" fmla="*/ 45720 w 80962"/>
                  <a:gd name="connsiteY8" fmla="*/ 14288 h 139064"/>
                  <a:gd name="connsiteX9" fmla="*/ 20003 w 80962"/>
                  <a:gd name="connsiteY9" fmla="*/ 34290 h 139064"/>
                  <a:gd name="connsiteX10" fmla="*/ 46672 w 80962"/>
                  <a:gd name="connsiteY10" fmla="*/ 60007 h 139064"/>
                  <a:gd name="connsiteX11" fmla="*/ 80963 w 80962"/>
                  <a:gd name="connsiteY11" fmla="*/ 100012 h 139064"/>
                  <a:gd name="connsiteX12" fmla="*/ 34290 w 80962"/>
                  <a:gd name="connsiteY12" fmla="*/ 139065 h 139064"/>
                  <a:gd name="connsiteX13" fmla="*/ 0 w 80962"/>
                  <a:gd name="connsiteY13" fmla="*/ 130493 h 139064"/>
                  <a:gd name="connsiteX14" fmla="*/ 3810 w 80962"/>
                  <a:gd name="connsiteY14" fmla="*/ 115252 h 139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80962" h="139064">
                    <a:moveTo>
                      <a:pt x="3810" y="115252"/>
                    </a:moveTo>
                    <a:cubicBezTo>
                      <a:pt x="11430" y="120015"/>
                      <a:pt x="22860" y="123825"/>
                      <a:pt x="35243" y="123825"/>
                    </a:cubicBezTo>
                    <a:cubicBezTo>
                      <a:pt x="53340" y="123825"/>
                      <a:pt x="63818" y="114300"/>
                      <a:pt x="63818" y="100965"/>
                    </a:cubicBezTo>
                    <a:cubicBezTo>
                      <a:pt x="63818" y="88582"/>
                      <a:pt x="56197" y="80962"/>
                      <a:pt x="38100" y="74295"/>
                    </a:cubicBezTo>
                    <a:cubicBezTo>
                      <a:pt x="16193" y="66675"/>
                      <a:pt x="2857" y="54293"/>
                      <a:pt x="2857" y="36195"/>
                    </a:cubicBezTo>
                    <a:cubicBezTo>
                      <a:pt x="2857" y="15240"/>
                      <a:pt x="20003" y="0"/>
                      <a:pt x="46672" y="0"/>
                    </a:cubicBezTo>
                    <a:cubicBezTo>
                      <a:pt x="60007" y="0"/>
                      <a:pt x="70485" y="2857"/>
                      <a:pt x="76200" y="6667"/>
                    </a:cubicBezTo>
                    <a:lnTo>
                      <a:pt x="71438" y="20955"/>
                    </a:lnTo>
                    <a:cubicBezTo>
                      <a:pt x="67628" y="18098"/>
                      <a:pt x="58103" y="14288"/>
                      <a:pt x="45720" y="14288"/>
                    </a:cubicBezTo>
                    <a:cubicBezTo>
                      <a:pt x="27622" y="14288"/>
                      <a:pt x="20003" y="25718"/>
                      <a:pt x="20003" y="34290"/>
                    </a:cubicBezTo>
                    <a:cubicBezTo>
                      <a:pt x="20003" y="46673"/>
                      <a:pt x="28575" y="53340"/>
                      <a:pt x="46672" y="60007"/>
                    </a:cubicBezTo>
                    <a:cubicBezTo>
                      <a:pt x="69532" y="68580"/>
                      <a:pt x="80963" y="80010"/>
                      <a:pt x="80963" y="100012"/>
                    </a:cubicBezTo>
                    <a:cubicBezTo>
                      <a:pt x="80963" y="120968"/>
                      <a:pt x="65722" y="139065"/>
                      <a:pt x="34290" y="139065"/>
                    </a:cubicBezTo>
                    <a:cubicBezTo>
                      <a:pt x="20955" y="139065"/>
                      <a:pt x="6668" y="135255"/>
                      <a:pt x="0" y="130493"/>
                    </a:cubicBezTo>
                    <a:lnTo>
                      <a:pt x="3810" y="115252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4" name="Freeform: Shape 94">
                <a:extLst>
                  <a:ext uri="{FF2B5EF4-FFF2-40B4-BE49-F238E27FC236}">
                    <a16:creationId xmlns:a16="http://schemas.microsoft.com/office/drawing/2014/main" id="{15CF210E-B79C-4962-6CFB-60AA743A1A83}"/>
                  </a:ext>
                </a:extLst>
              </p:cNvPr>
              <p:cNvSpPr/>
              <p:nvPr/>
            </p:nvSpPr>
            <p:spPr>
              <a:xfrm>
                <a:off x="8861328" y="3714196"/>
                <a:ext cx="76200" cy="135254"/>
              </a:xfrm>
              <a:custGeom>
                <a:avLst/>
                <a:gdLst>
                  <a:gd name="connsiteX0" fmla="*/ 70485 w 76200"/>
                  <a:gd name="connsiteY0" fmla="*/ 72390 h 135254"/>
                  <a:gd name="connsiteX1" fmla="*/ 18098 w 76200"/>
                  <a:gd name="connsiteY1" fmla="*/ 72390 h 135254"/>
                  <a:gd name="connsiteX2" fmla="*/ 18098 w 76200"/>
                  <a:gd name="connsiteY2" fmla="*/ 120967 h 135254"/>
                  <a:gd name="connsiteX3" fmla="*/ 76200 w 76200"/>
                  <a:gd name="connsiteY3" fmla="*/ 120967 h 135254"/>
                  <a:gd name="connsiteX4" fmla="*/ 76200 w 76200"/>
                  <a:gd name="connsiteY4" fmla="*/ 135255 h 135254"/>
                  <a:gd name="connsiteX5" fmla="*/ 0 w 76200"/>
                  <a:gd name="connsiteY5" fmla="*/ 135255 h 135254"/>
                  <a:gd name="connsiteX6" fmla="*/ 0 w 76200"/>
                  <a:gd name="connsiteY6" fmla="*/ 0 h 135254"/>
                  <a:gd name="connsiteX7" fmla="*/ 73343 w 76200"/>
                  <a:gd name="connsiteY7" fmla="*/ 0 h 135254"/>
                  <a:gd name="connsiteX8" fmla="*/ 73343 w 76200"/>
                  <a:gd name="connsiteY8" fmla="*/ 14288 h 135254"/>
                  <a:gd name="connsiteX9" fmla="*/ 18098 w 76200"/>
                  <a:gd name="connsiteY9" fmla="*/ 14288 h 135254"/>
                  <a:gd name="connsiteX10" fmla="*/ 18098 w 76200"/>
                  <a:gd name="connsiteY10" fmla="*/ 57150 h 135254"/>
                  <a:gd name="connsiteX11" fmla="*/ 70485 w 76200"/>
                  <a:gd name="connsiteY11" fmla="*/ 57150 h 135254"/>
                  <a:gd name="connsiteX12" fmla="*/ 70485 w 76200"/>
                  <a:gd name="connsiteY12" fmla="*/ 72390 h 13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6200" h="135254">
                    <a:moveTo>
                      <a:pt x="70485" y="72390"/>
                    </a:moveTo>
                    <a:lnTo>
                      <a:pt x="18098" y="72390"/>
                    </a:lnTo>
                    <a:lnTo>
                      <a:pt x="18098" y="120967"/>
                    </a:lnTo>
                    <a:lnTo>
                      <a:pt x="76200" y="120967"/>
                    </a:lnTo>
                    <a:lnTo>
                      <a:pt x="76200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73343" y="0"/>
                    </a:lnTo>
                    <a:lnTo>
                      <a:pt x="73343" y="14288"/>
                    </a:lnTo>
                    <a:lnTo>
                      <a:pt x="18098" y="14288"/>
                    </a:lnTo>
                    <a:lnTo>
                      <a:pt x="18098" y="57150"/>
                    </a:lnTo>
                    <a:lnTo>
                      <a:pt x="70485" y="57150"/>
                    </a:lnTo>
                    <a:lnTo>
                      <a:pt x="70485" y="7239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5" name="Freeform: Shape 95">
                <a:extLst>
                  <a:ext uri="{FF2B5EF4-FFF2-40B4-BE49-F238E27FC236}">
                    <a16:creationId xmlns:a16="http://schemas.microsoft.com/office/drawing/2014/main" id="{C309EEF7-E77A-8489-FEC1-63CA6A67A3AB}"/>
                  </a:ext>
                </a:extLst>
              </p:cNvPr>
              <p:cNvSpPr/>
              <p:nvPr/>
            </p:nvSpPr>
            <p:spPr>
              <a:xfrm>
                <a:off x="8980391" y="3713244"/>
                <a:ext cx="102870" cy="139064"/>
              </a:xfrm>
              <a:custGeom>
                <a:avLst/>
                <a:gdLst>
                  <a:gd name="connsiteX0" fmla="*/ 101918 w 102870"/>
                  <a:gd name="connsiteY0" fmla="*/ 132398 h 139064"/>
                  <a:gd name="connsiteX1" fmla="*/ 66675 w 102870"/>
                  <a:gd name="connsiteY1" fmla="*/ 139065 h 139064"/>
                  <a:gd name="connsiteX2" fmla="*/ 0 w 102870"/>
                  <a:gd name="connsiteY2" fmla="*/ 70485 h 139064"/>
                  <a:gd name="connsiteX3" fmla="*/ 70485 w 102870"/>
                  <a:gd name="connsiteY3" fmla="*/ 0 h 139064"/>
                  <a:gd name="connsiteX4" fmla="*/ 102870 w 102870"/>
                  <a:gd name="connsiteY4" fmla="*/ 5715 h 139064"/>
                  <a:gd name="connsiteX5" fmla="*/ 98108 w 102870"/>
                  <a:gd name="connsiteY5" fmla="*/ 20002 h 139064"/>
                  <a:gd name="connsiteX6" fmla="*/ 71438 w 102870"/>
                  <a:gd name="connsiteY6" fmla="*/ 14288 h 139064"/>
                  <a:gd name="connsiteX7" fmla="*/ 19050 w 102870"/>
                  <a:gd name="connsiteY7" fmla="*/ 69532 h 139064"/>
                  <a:gd name="connsiteX8" fmla="*/ 70485 w 102870"/>
                  <a:gd name="connsiteY8" fmla="*/ 123825 h 139064"/>
                  <a:gd name="connsiteX9" fmla="*/ 99060 w 102870"/>
                  <a:gd name="connsiteY9" fmla="*/ 118110 h 139064"/>
                  <a:gd name="connsiteX10" fmla="*/ 101918 w 102870"/>
                  <a:gd name="connsiteY10" fmla="*/ 132398 h 139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2870" h="139064">
                    <a:moveTo>
                      <a:pt x="101918" y="132398"/>
                    </a:moveTo>
                    <a:cubicBezTo>
                      <a:pt x="95250" y="135255"/>
                      <a:pt x="82868" y="139065"/>
                      <a:pt x="66675" y="139065"/>
                    </a:cubicBezTo>
                    <a:cubicBezTo>
                      <a:pt x="28575" y="139065"/>
                      <a:pt x="0" y="115252"/>
                      <a:pt x="0" y="70485"/>
                    </a:cubicBezTo>
                    <a:cubicBezTo>
                      <a:pt x="0" y="27623"/>
                      <a:pt x="28575" y="0"/>
                      <a:pt x="70485" y="0"/>
                    </a:cubicBezTo>
                    <a:cubicBezTo>
                      <a:pt x="86678" y="0"/>
                      <a:pt x="98108" y="3810"/>
                      <a:pt x="102870" y="5715"/>
                    </a:cubicBezTo>
                    <a:lnTo>
                      <a:pt x="98108" y="20002"/>
                    </a:lnTo>
                    <a:cubicBezTo>
                      <a:pt x="91440" y="17145"/>
                      <a:pt x="81915" y="14288"/>
                      <a:pt x="71438" y="14288"/>
                    </a:cubicBezTo>
                    <a:cubicBezTo>
                      <a:pt x="40005" y="14288"/>
                      <a:pt x="19050" y="34290"/>
                      <a:pt x="19050" y="69532"/>
                    </a:cubicBezTo>
                    <a:cubicBezTo>
                      <a:pt x="19050" y="102870"/>
                      <a:pt x="38100" y="123825"/>
                      <a:pt x="70485" y="123825"/>
                    </a:cubicBezTo>
                    <a:cubicBezTo>
                      <a:pt x="80963" y="123825"/>
                      <a:pt x="92393" y="121920"/>
                      <a:pt x="99060" y="118110"/>
                    </a:cubicBezTo>
                    <a:lnTo>
                      <a:pt x="101918" y="132398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6" name="Freeform: Shape 96">
                <a:extLst>
                  <a:ext uri="{FF2B5EF4-FFF2-40B4-BE49-F238E27FC236}">
                    <a16:creationId xmlns:a16="http://schemas.microsoft.com/office/drawing/2014/main" id="{A6F71A6E-EE02-3421-E49A-80AA2FA8885F}"/>
                  </a:ext>
                </a:extLst>
              </p:cNvPr>
              <p:cNvSpPr/>
              <p:nvPr/>
            </p:nvSpPr>
            <p:spPr>
              <a:xfrm>
                <a:off x="9131839" y="3714196"/>
                <a:ext cx="88582" cy="137159"/>
              </a:xfrm>
              <a:custGeom>
                <a:avLst/>
                <a:gdLst>
                  <a:gd name="connsiteX0" fmla="*/ 0 w 88582"/>
                  <a:gd name="connsiteY0" fmla="*/ 2858 h 137159"/>
                  <a:gd name="connsiteX1" fmla="*/ 33338 w 88582"/>
                  <a:gd name="connsiteY1" fmla="*/ 0 h 137159"/>
                  <a:gd name="connsiteX2" fmla="*/ 72390 w 88582"/>
                  <a:gd name="connsiteY2" fmla="*/ 11430 h 137159"/>
                  <a:gd name="connsiteX3" fmla="*/ 82867 w 88582"/>
                  <a:gd name="connsiteY3" fmla="*/ 37147 h 137159"/>
                  <a:gd name="connsiteX4" fmla="*/ 58102 w 88582"/>
                  <a:gd name="connsiteY4" fmla="*/ 71438 h 137159"/>
                  <a:gd name="connsiteX5" fmla="*/ 58102 w 88582"/>
                  <a:gd name="connsiteY5" fmla="*/ 72390 h 137159"/>
                  <a:gd name="connsiteX6" fmla="*/ 78105 w 88582"/>
                  <a:gd name="connsiteY6" fmla="*/ 100013 h 137159"/>
                  <a:gd name="connsiteX7" fmla="*/ 88582 w 88582"/>
                  <a:gd name="connsiteY7" fmla="*/ 137160 h 137159"/>
                  <a:gd name="connsiteX8" fmla="*/ 70485 w 88582"/>
                  <a:gd name="connsiteY8" fmla="*/ 137160 h 137159"/>
                  <a:gd name="connsiteX9" fmla="*/ 61913 w 88582"/>
                  <a:gd name="connsiteY9" fmla="*/ 104775 h 137159"/>
                  <a:gd name="connsiteX10" fmla="*/ 34290 w 88582"/>
                  <a:gd name="connsiteY10" fmla="*/ 78105 h 137159"/>
                  <a:gd name="connsiteX11" fmla="*/ 17145 w 88582"/>
                  <a:gd name="connsiteY11" fmla="*/ 78105 h 137159"/>
                  <a:gd name="connsiteX12" fmla="*/ 17145 w 88582"/>
                  <a:gd name="connsiteY12" fmla="*/ 136208 h 137159"/>
                  <a:gd name="connsiteX13" fmla="*/ 0 w 88582"/>
                  <a:gd name="connsiteY13" fmla="*/ 136208 h 137159"/>
                  <a:gd name="connsiteX14" fmla="*/ 0 w 88582"/>
                  <a:gd name="connsiteY14" fmla="*/ 2858 h 137159"/>
                  <a:gd name="connsiteX15" fmla="*/ 17145 w 88582"/>
                  <a:gd name="connsiteY15" fmla="*/ 64770 h 137159"/>
                  <a:gd name="connsiteX16" fmla="*/ 35242 w 88582"/>
                  <a:gd name="connsiteY16" fmla="*/ 64770 h 137159"/>
                  <a:gd name="connsiteX17" fmla="*/ 65722 w 88582"/>
                  <a:gd name="connsiteY17" fmla="*/ 39053 h 137159"/>
                  <a:gd name="connsiteX18" fmla="*/ 34290 w 88582"/>
                  <a:gd name="connsiteY18" fmla="*/ 14288 h 137159"/>
                  <a:gd name="connsiteX19" fmla="*/ 17145 w 88582"/>
                  <a:gd name="connsiteY19" fmla="*/ 15240 h 137159"/>
                  <a:gd name="connsiteX20" fmla="*/ 17145 w 88582"/>
                  <a:gd name="connsiteY20" fmla="*/ 64770 h 137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8582" h="137159">
                    <a:moveTo>
                      <a:pt x="0" y="2858"/>
                    </a:moveTo>
                    <a:cubicBezTo>
                      <a:pt x="8572" y="952"/>
                      <a:pt x="21907" y="0"/>
                      <a:pt x="33338" y="0"/>
                    </a:cubicBezTo>
                    <a:cubicBezTo>
                      <a:pt x="52388" y="0"/>
                      <a:pt x="63817" y="3810"/>
                      <a:pt x="72390" y="11430"/>
                    </a:cubicBezTo>
                    <a:cubicBezTo>
                      <a:pt x="79057" y="17145"/>
                      <a:pt x="82867" y="26670"/>
                      <a:pt x="82867" y="37147"/>
                    </a:cubicBezTo>
                    <a:cubicBezTo>
                      <a:pt x="82867" y="54292"/>
                      <a:pt x="71438" y="66675"/>
                      <a:pt x="58102" y="71438"/>
                    </a:cubicBezTo>
                    <a:lnTo>
                      <a:pt x="58102" y="72390"/>
                    </a:lnTo>
                    <a:cubicBezTo>
                      <a:pt x="68580" y="76200"/>
                      <a:pt x="74295" y="85725"/>
                      <a:pt x="78105" y="100013"/>
                    </a:cubicBezTo>
                    <a:cubicBezTo>
                      <a:pt x="82867" y="119063"/>
                      <a:pt x="85725" y="131445"/>
                      <a:pt x="88582" y="137160"/>
                    </a:cubicBezTo>
                    <a:lnTo>
                      <a:pt x="70485" y="137160"/>
                    </a:lnTo>
                    <a:cubicBezTo>
                      <a:pt x="68580" y="133350"/>
                      <a:pt x="65722" y="121920"/>
                      <a:pt x="61913" y="104775"/>
                    </a:cubicBezTo>
                    <a:cubicBezTo>
                      <a:pt x="58102" y="85725"/>
                      <a:pt x="50482" y="79058"/>
                      <a:pt x="34290" y="78105"/>
                    </a:cubicBezTo>
                    <a:lnTo>
                      <a:pt x="17145" y="78105"/>
                    </a:lnTo>
                    <a:lnTo>
                      <a:pt x="17145" y="136208"/>
                    </a:lnTo>
                    <a:lnTo>
                      <a:pt x="0" y="136208"/>
                    </a:lnTo>
                    <a:lnTo>
                      <a:pt x="0" y="2858"/>
                    </a:lnTo>
                    <a:close/>
                    <a:moveTo>
                      <a:pt x="17145" y="64770"/>
                    </a:moveTo>
                    <a:lnTo>
                      <a:pt x="35242" y="64770"/>
                    </a:lnTo>
                    <a:cubicBezTo>
                      <a:pt x="54292" y="64770"/>
                      <a:pt x="65722" y="54292"/>
                      <a:pt x="65722" y="39053"/>
                    </a:cubicBezTo>
                    <a:cubicBezTo>
                      <a:pt x="65722" y="21908"/>
                      <a:pt x="53340" y="14288"/>
                      <a:pt x="34290" y="14288"/>
                    </a:cubicBezTo>
                    <a:cubicBezTo>
                      <a:pt x="25717" y="14288"/>
                      <a:pt x="20002" y="15240"/>
                      <a:pt x="17145" y="15240"/>
                    </a:cubicBezTo>
                    <a:lnTo>
                      <a:pt x="17145" y="6477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7" name="Freeform: Shape 97">
                <a:extLst>
                  <a:ext uri="{FF2B5EF4-FFF2-40B4-BE49-F238E27FC236}">
                    <a16:creationId xmlns:a16="http://schemas.microsoft.com/office/drawing/2014/main" id="{3258E75B-6BDE-8CE9-4A72-547579F69306}"/>
                  </a:ext>
                </a:extLst>
              </p:cNvPr>
              <p:cNvSpPr/>
              <p:nvPr/>
            </p:nvSpPr>
            <p:spPr>
              <a:xfrm>
                <a:off x="9266141" y="3714196"/>
                <a:ext cx="76200" cy="135254"/>
              </a:xfrm>
              <a:custGeom>
                <a:avLst/>
                <a:gdLst>
                  <a:gd name="connsiteX0" fmla="*/ 70485 w 76200"/>
                  <a:gd name="connsiteY0" fmla="*/ 72390 h 135254"/>
                  <a:gd name="connsiteX1" fmla="*/ 18098 w 76200"/>
                  <a:gd name="connsiteY1" fmla="*/ 72390 h 135254"/>
                  <a:gd name="connsiteX2" fmla="*/ 18098 w 76200"/>
                  <a:gd name="connsiteY2" fmla="*/ 120967 h 135254"/>
                  <a:gd name="connsiteX3" fmla="*/ 76200 w 76200"/>
                  <a:gd name="connsiteY3" fmla="*/ 120967 h 135254"/>
                  <a:gd name="connsiteX4" fmla="*/ 76200 w 76200"/>
                  <a:gd name="connsiteY4" fmla="*/ 135255 h 135254"/>
                  <a:gd name="connsiteX5" fmla="*/ 0 w 76200"/>
                  <a:gd name="connsiteY5" fmla="*/ 135255 h 135254"/>
                  <a:gd name="connsiteX6" fmla="*/ 0 w 76200"/>
                  <a:gd name="connsiteY6" fmla="*/ 0 h 135254"/>
                  <a:gd name="connsiteX7" fmla="*/ 73343 w 76200"/>
                  <a:gd name="connsiteY7" fmla="*/ 0 h 135254"/>
                  <a:gd name="connsiteX8" fmla="*/ 73343 w 76200"/>
                  <a:gd name="connsiteY8" fmla="*/ 14288 h 135254"/>
                  <a:gd name="connsiteX9" fmla="*/ 18098 w 76200"/>
                  <a:gd name="connsiteY9" fmla="*/ 14288 h 135254"/>
                  <a:gd name="connsiteX10" fmla="*/ 18098 w 76200"/>
                  <a:gd name="connsiteY10" fmla="*/ 57150 h 135254"/>
                  <a:gd name="connsiteX11" fmla="*/ 70485 w 76200"/>
                  <a:gd name="connsiteY11" fmla="*/ 57150 h 135254"/>
                  <a:gd name="connsiteX12" fmla="*/ 70485 w 76200"/>
                  <a:gd name="connsiteY12" fmla="*/ 72390 h 13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6200" h="135254">
                    <a:moveTo>
                      <a:pt x="70485" y="72390"/>
                    </a:moveTo>
                    <a:lnTo>
                      <a:pt x="18098" y="72390"/>
                    </a:lnTo>
                    <a:lnTo>
                      <a:pt x="18098" y="120967"/>
                    </a:lnTo>
                    <a:lnTo>
                      <a:pt x="76200" y="120967"/>
                    </a:lnTo>
                    <a:lnTo>
                      <a:pt x="76200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73343" y="0"/>
                    </a:lnTo>
                    <a:lnTo>
                      <a:pt x="73343" y="14288"/>
                    </a:lnTo>
                    <a:lnTo>
                      <a:pt x="18098" y="14288"/>
                    </a:lnTo>
                    <a:lnTo>
                      <a:pt x="18098" y="57150"/>
                    </a:lnTo>
                    <a:lnTo>
                      <a:pt x="70485" y="57150"/>
                    </a:lnTo>
                    <a:lnTo>
                      <a:pt x="70485" y="7239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8" name="Freeform: Shape 98">
                <a:extLst>
                  <a:ext uri="{FF2B5EF4-FFF2-40B4-BE49-F238E27FC236}">
                    <a16:creationId xmlns:a16="http://schemas.microsoft.com/office/drawing/2014/main" id="{A0480E01-D307-F2B5-137F-4230941528E7}"/>
                  </a:ext>
                </a:extLst>
              </p:cNvPr>
              <p:cNvSpPr/>
              <p:nvPr/>
            </p:nvSpPr>
            <p:spPr>
              <a:xfrm>
                <a:off x="9381394" y="3715148"/>
                <a:ext cx="100012" cy="135255"/>
              </a:xfrm>
              <a:custGeom>
                <a:avLst/>
                <a:gdLst>
                  <a:gd name="connsiteX0" fmla="*/ 40957 w 100012"/>
                  <a:gd name="connsiteY0" fmla="*/ 15240 h 135255"/>
                  <a:gd name="connsiteX1" fmla="*/ 0 w 100012"/>
                  <a:gd name="connsiteY1" fmla="*/ 15240 h 135255"/>
                  <a:gd name="connsiteX2" fmla="*/ 0 w 100012"/>
                  <a:gd name="connsiteY2" fmla="*/ 0 h 135255"/>
                  <a:gd name="connsiteX3" fmla="*/ 100013 w 100012"/>
                  <a:gd name="connsiteY3" fmla="*/ 0 h 135255"/>
                  <a:gd name="connsiteX4" fmla="*/ 100013 w 100012"/>
                  <a:gd name="connsiteY4" fmla="*/ 15240 h 135255"/>
                  <a:gd name="connsiteX5" fmla="*/ 59055 w 100012"/>
                  <a:gd name="connsiteY5" fmla="*/ 15240 h 135255"/>
                  <a:gd name="connsiteX6" fmla="*/ 59055 w 100012"/>
                  <a:gd name="connsiteY6" fmla="*/ 135255 h 135255"/>
                  <a:gd name="connsiteX7" fmla="*/ 41910 w 100012"/>
                  <a:gd name="connsiteY7" fmla="*/ 135255 h 135255"/>
                  <a:gd name="connsiteX8" fmla="*/ 41910 w 100012"/>
                  <a:gd name="connsiteY8" fmla="*/ 1524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12" h="135255">
                    <a:moveTo>
                      <a:pt x="40957" y="15240"/>
                    </a:moveTo>
                    <a:lnTo>
                      <a:pt x="0" y="15240"/>
                    </a:lnTo>
                    <a:lnTo>
                      <a:pt x="0" y="0"/>
                    </a:lnTo>
                    <a:lnTo>
                      <a:pt x="100013" y="0"/>
                    </a:lnTo>
                    <a:lnTo>
                      <a:pt x="100013" y="15240"/>
                    </a:lnTo>
                    <a:lnTo>
                      <a:pt x="59055" y="15240"/>
                    </a:lnTo>
                    <a:lnTo>
                      <a:pt x="59055" y="135255"/>
                    </a:lnTo>
                    <a:lnTo>
                      <a:pt x="41910" y="135255"/>
                    </a:lnTo>
                    <a:lnTo>
                      <a:pt x="41910" y="1524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9" name="Freeform: Shape 99">
                <a:extLst>
                  <a:ext uri="{FF2B5EF4-FFF2-40B4-BE49-F238E27FC236}">
                    <a16:creationId xmlns:a16="http://schemas.microsoft.com/office/drawing/2014/main" id="{AF07EFC7-3AC3-00D3-B985-2BC40FC40FE1}"/>
                  </a:ext>
                </a:extLst>
              </p:cNvPr>
              <p:cNvSpPr/>
              <p:nvPr/>
            </p:nvSpPr>
            <p:spPr>
              <a:xfrm>
                <a:off x="9497598" y="3715148"/>
                <a:ext cx="112395" cy="135255"/>
              </a:xfrm>
              <a:custGeom>
                <a:avLst/>
                <a:gdLst>
                  <a:gd name="connsiteX0" fmla="*/ 32385 w 112395"/>
                  <a:gd name="connsiteY0" fmla="*/ 92393 h 135255"/>
                  <a:gd name="connsiteX1" fmla="*/ 18098 w 112395"/>
                  <a:gd name="connsiteY1" fmla="*/ 135255 h 135255"/>
                  <a:gd name="connsiteX2" fmla="*/ 0 w 112395"/>
                  <a:gd name="connsiteY2" fmla="*/ 135255 h 135255"/>
                  <a:gd name="connsiteX3" fmla="*/ 45720 w 112395"/>
                  <a:gd name="connsiteY3" fmla="*/ 0 h 135255"/>
                  <a:gd name="connsiteX4" fmla="*/ 66675 w 112395"/>
                  <a:gd name="connsiteY4" fmla="*/ 0 h 135255"/>
                  <a:gd name="connsiteX5" fmla="*/ 112395 w 112395"/>
                  <a:gd name="connsiteY5" fmla="*/ 135255 h 135255"/>
                  <a:gd name="connsiteX6" fmla="*/ 93345 w 112395"/>
                  <a:gd name="connsiteY6" fmla="*/ 135255 h 135255"/>
                  <a:gd name="connsiteX7" fmla="*/ 79058 w 112395"/>
                  <a:gd name="connsiteY7" fmla="*/ 92393 h 135255"/>
                  <a:gd name="connsiteX8" fmla="*/ 32385 w 112395"/>
                  <a:gd name="connsiteY8" fmla="*/ 92393 h 135255"/>
                  <a:gd name="connsiteX9" fmla="*/ 77153 w 112395"/>
                  <a:gd name="connsiteY9" fmla="*/ 79057 h 135255"/>
                  <a:gd name="connsiteX10" fmla="*/ 63818 w 112395"/>
                  <a:gd name="connsiteY10" fmla="*/ 40005 h 135255"/>
                  <a:gd name="connsiteX11" fmla="*/ 57150 w 112395"/>
                  <a:gd name="connsiteY11" fmla="*/ 15240 h 135255"/>
                  <a:gd name="connsiteX12" fmla="*/ 57150 w 112395"/>
                  <a:gd name="connsiteY12" fmla="*/ 15240 h 135255"/>
                  <a:gd name="connsiteX13" fmla="*/ 50483 w 112395"/>
                  <a:gd name="connsiteY13" fmla="*/ 40005 h 135255"/>
                  <a:gd name="connsiteX14" fmla="*/ 37148 w 112395"/>
                  <a:gd name="connsiteY14" fmla="*/ 79057 h 135255"/>
                  <a:gd name="connsiteX15" fmla="*/ 77153 w 112395"/>
                  <a:gd name="connsiteY15" fmla="*/ 79057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395" h="135255">
                    <a:moveTo>
                      <a:pt x="32385" y="92393"/>
                    </a:moveTo>
                    <a:lnTo>
                      <a:pt x="18098" y="135255"/>
                    </a:lnTo>
                    <a:lnTo>
                      <a:pt x="0" y="135255"/>
                    </a:lnTo>
                    <a:lnTo>
                      <a:pt x="45720" y="0"/>
                    </a:lnTo>
                    <a:lnTo>
                      <a:pt x="66675" y="0"/>
                    </a:lnTo>
                    <a:lnTo>
                      <a:pt x="112395" y="135255"/>
                    </a:lnTo>
                    <a:lnTo>
                      <a:pt x="93345" y="135255"/>
                    </a:lnTo>
                    <a:lnTo>
                      <a:pt x="79058" y="92393"/>
                    </a:lnTo>
                    <a:lnTo>
                      <a:pt x="32385" y="92393"/>
                    </a:lnTo>
                    <a:close/>
                    <a:moveTo>
                      <a:pt x="77153" y="79057"/>
                    </a:moveTo>
                    <a:lnTo>
                      <a:pt x="63818" y="40005"/>
                    </a:lnTo>
                    <a:cubicBezTo>
                      <a:pt x="60960" y="31432"/>
                      <a:pt x="59055" y="22860"/>
                      <a:pt x="57150" y="15240"/>
                    </a:cubicBezTo>
                    <a:lnTo>
                      <a:pt x="57150" y="15240"/>
                    </a:lnTo>
                    <a:cubicBezTo>
                      <a:pt x="55245" y="22860"/>
                      <a:pt x="53340" y="31432"/>
                      <a:pt x="50483" y="40005"/>
                    </a:cubicBezTo>
                    <a:lnTo>
                      <a:pt x="37148" y="79057"/>
                    </a:lnTo>
                    <a:lnTo>
                      <a:pt x="77153" y="79057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0" name="Freeform: Shape 100">
                <a:extLst>
                  <a:ext uri="{FF2B5EF4-FFF2-40B4-BE49-F238E27FC236}">
                    <a16:creationId xmlns:a16="http://schemas.microsoft.com/office/drawing/2014/main" id="{8463CB44-6F11-6125-EF99-C10ED67BF445}"/>
                  </a:ext>
                </a:extLst>
              </p:cNvPr>
              <p:cNvSpPr/>
              <p:nvPr/>
            </p:nvSpPr>
            <p:spPr>
              <a:xfrm>
                <a:off x="9658571" y="3714196"/>
                <a:ext cx="88582" cy="137159"/>
              </a:xfrm>
              <a:custGeom>
                <a:avLst/>
                <a:gdLst>
                  <a:gd name="connsiteX0" fmla="*/ 0 w 88582"/>
                  <a:gd name="connsiteY0" fmla="*/ 2858 h 137159"/>
                  <a:gd name="connsiteX1" fmla="*/ 33338 w 88582"/>
                  <a:gd name="connsiteY1" fmla="*/ 0 h 137159"/>
                  <a:gd name="connsiteX2" fmla="*/ 72390 w 88582"/>
                  <a:gd name="connsiteY2" fmla="*/ 11430 h 137159"/>
                  <a:gd name="connsiteX3" fmla="*/ 82868 w 88582"/>
                  <a:gd name="connsiteY3" fmla="*/ 37147 h 137159"/>
                  <a:gd name="connsiteX4" fmla="*/ 58102 w 88582"/>
                  <a:gd name="connsiteY4" fmla="*/ 71438 h 137159"/>
                  <a:gd name="connsiteX5" fmla="*/ 58102 w 88582"/>
                  <a:gd name="connsiteY5" fmla="*/ 72390 h 137159"/>
                  <a:gd name="connsiteX6" fmla="*/ 78105 w 88582"/>
                  <a:gd name="connsiteY6" fmla="*/ 100013 h 137159"/>
                  <a:gd name="connsiteX7" fmla="*/ 88582 w 88582"/>
                  <a:gd name="connsiteY7" fmla="*/ 137160 h 137159"/>
                  <a:gd name="connsiteX8" fmla="*/ 70485 w 88582"/>
                  <a:gd name="connsiteY8" fmla="*/ 137160 h 137159"/>
                  <a:gd name="connsiteX9" fmla="*/ 61913 w 88582"/>
                  <a:gd name="connsiteY9" fmla="*/ 104775 h 137159"/>
                  <a:gd name="connsiteX10" fmla="*/ 34290 w 88582"/>
                  <a:gd name="connsiteY10" fmla="*/ 78105 h 137159"/>
                  <a:gd name="connsiteX11" fmla="*/ 18098 w 88582"/>
                  <a:gd name="connsiteY11" fmla="*/ 78105 h 137159"/>
                  <a:gd name="connsiteX12" fmla="*/ 18098 w 88582"/>
                  <a:gd name="connsiteY12" fmla="*/ 136208 h 137159"/>
                  <a:gd name="connsiteX13" fmla="*/ 952 w 88582"/>
                  <a:gd name="connsiteY13" fmla="*/ 136208 h 137159"/>
                  <a:gd name="connsiteX14" fmla="*/ 952 w 88582"/>
                  <a:gd name="connsiteY14" fmla="*/ 2858 h 137159"/>
                  <a:gd name="connsiteX15" fmla="*/ 17145 w 88582"/>
                  <a:gd name="connsiteY15" fmla="*/ 64770 h 137159"/>
                  <a:gd name="connsiteX16" fmla="*/ 35243 w 88582"/>
                  <a:gd name="connsiteY16" fmla="*/ 64770 h 137159"/>
                  <a:gd name="connsiteX17" fmla="*/ 65723 w 88582"/>
                  <a:gd name="connsiteY17" fmla="*/ 39053 h 137159"/>
                  <a:gd name="connsiteX18" fmla="*/ 34290 w 88582"/>
                  <a:gd name="connsiteY18" fmla="*/ 14288 h 137159"/>
                  <a:gd name="connsiteX19" fmla="*/ 17145 w 88582"/>
                  <a:gd name="connsiteY19" fmla="*/ 15240 h 137159"/>
                  <a:gd name="connsiteX20" fmla="*/ 17145 w 88582"/>
                  <a:gd name="connsiteY20" fmla="*/ 64770 h 137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8582" h="137159">
                    <a:moveTo>
                      <a:pt x="0" y="2858"/>
                    </a:moveTo>
                    <a:cubicBezTo>
                      <a:pt x="8573" y="952"/>
                      <a:pt x="21907" y="0"/>
                      <a:pt x="33338" y="0"/>
                    </a:cubicBezTo>
                    <a:cubicBezTo>
                      <a:pt x="52388" y="0"/>
                      <a:pt x="63818" y="3810"/>
                      <a:pt x="72390" y="11430"/>
                    </a:cubicBezTo>
                    <a:cubicBezTo>
                      <a:pt x="79057" y="17145"/>
                      <a:pt x="82868" y="26670"/>
                      <a:pt x="82868" y="37147"/>
                    </a:cubicBezTo>
                    <a:cubicBezTo>
                      <a:pt x="82868" y="54292"/>
                      <a:pt x="71438" y="66675"/>
                      <a:pt x="58102" y="71438"/>
                    </a:cubicBezTo>
                    <a:lnTo>
                      <a:pt x="58102" y="72390"/>
                    </a:lnTo>
                    <a:cubicBezTo>
                      <a:pt x="68580" y="76200"/>
                      <a:pt x="74295" y="85725"/>
                      <a:pt x="78105" y="100013"/>
                    </a:cubicBezTo>
                    <a:cubicBezTo>
                      <a:pt x="82868" y="119063"/>
                      <a:pt x="85725" y="131445"/>
                      <a:pt x="88582" y="137160"/>
                    </a:cubicBezTo>
                    <a:lnTo>
                      <a:pt x="70485" y="137160"/>
                    </a:lnTo>
                    <a:cubicBezTo>
                      <a:pt x="68580" y="133350"/>
                      <a:pt x="65723" y="121920"/>
                      <a:pt x="61913" y="104775"/>
                    </a:cubicBezTo>
                    <a:cubicBezTo>
                      <a:pt x="58102" y="85725"/>
                      <a:pt x="50482" y="79058"/>
                      <a:pt x="34290" y="78105"/>
                    </a:cubicBezTo>
                    <a:lnTo>
                      <a:pt x="18098" y="78105"/>
                    </a:lnTo>
                    <a:lnTo>
                      <a:pt x="18098" y="136208"/>
                    </a:lnTo>
                    <a:lnTo>
                      <a:pt x="952" y="136208"/>
                    </a:lnTo>
                    <a:lnTo>
                      <a:pt x="952" y="2858"/>
                    </a:lnTo>
                    <a:close/>
                    <a:moveTo>
                      <a:pt x="17145" y="64770"/>
                    </a:moveTo>
                    <a:lnTo>
                      <a:pt x="35243" y="64770"/>
                    </a:lnTo>
                    <a:cubicBezTo>
                      <a:pt x="54293" y="64770"/>
                      <a:pt x="65723" y="54292"/>
                      <a:pt x="65723" y="39053"/>
                    </a:cubicBezTo>
                    <a:cubicBezTo>
                      <a:pt x="65723" y="21908"/>
                      <a:pt x="53340" y="14288"/>
                      <a:pt x="34290" y="14288"/>
                    </a:cubicBezTo>
                    <a:cubicBezTo>
                      <a:pt x="25718" y="14288"/>
                      <a:pt x="20002" y="15240"/>
                      <a:pt x="17145" y="15240"/>
                    </a:cubicBezTo>
                    <a:lnTo>
                      <a:pt x="17145" y="6477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1" name="Freeform: Shape 101">
                <a:extLst>
                  <a:ext uri="{FF2B5EF4-FFF2-40B4-BE49-F238E27FC236}">
                    <a16:creationId xmlns:a16="http://schemas.microsoft.com/office/drawing/2014/main" id="{60069206-742C-CC74-E2CA-60E3756E75ED}"/>
                  </a:ext>
                </a:extLst>
              </p:cNvPr>
              <p:cNvSpPr/>
              <p:nvPr/>
            </p:nvSpPr>
            <p:spPr>
              <a:xfrm>
                <a:off x="9793826" y="3715148"/>
                <a:ext cx="17144" cy="135255"/>
              </a:xfrm>
              <a:custGeom>
                <a:avLst/>
                <a:gdLst>
                  <a:gd name="connsiteX0" fmla="*/ 17145 w 17144"/>
                  <a:gd name="connsiteY0" fmla="*/ 0 h 135255"/>
                  <a:gd name="connsiteX1" fmla="*/ 17145 w 17144"/>
                  <a:gd name="connsiteY1" fmla="*/ 135255 h 135255"/>
                  <a:gd name="connsiteX2" fmla="*/ 0 w 17144"/>
                  <a:gd name="connsiteY2" fmla="*/ 135255 h 135255"/>
                  <a:gd name="connsiteX3" fmla="*/ 0 w 17144"/>
                  <a:gd name="connsiteY3" fmla="*/ 0 h 135255"/>
                  <a:gd name="connsiteX4" fmla="*/ 17145 w 17144"/>
                  <a:gd name="connsiteY4" fmla="*/ 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4" h="135255">
                    <a:moveTo>
                      <a:pt x="17145" y="0"/>
                    </a:moveTo>
                    <a:lnTo>
                      <a:pt x="17145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2" name="Freeform: Shape 102">
                <a:extLst>
                  <a:ext uri="{FF2B5EF4-FFF2-40B4-BE49-F238E27FC236}">
                    <a16:creationId xmlns:a16="http://schemas.microsoft.com/office/drawing/2014/main" id="{99754689-80DB-154E-4ECF-EEA93ADD20BB}"/>
                  </a:ext>
                </a:extLst>
              </p:cNvPr>
              <p:cNvSpPr/>
              <p:nvPr/>
            </p:nvSpPr>
            <p:spPr>
              <a:xfrm>
                <a:off x="9858596" y="3715148"/>
                <a:ext cx="112394" cy="135255"/>
              </a:xfrm>
              <a:custGeom>
                <a:avLst/>
                <a:gdLst>
                  <a:gd name="connsiteX0" fmla="*/ 32385 w 112394"/>
                  <a:gd name="connsiteY0" fmla="*/ 92393 h 135255"/>
                  <a:gd name="connsiteX1" fmla="*/ 18098 w 112394"/>
                  <a:gd name="connsiteY1" fmla="*/ 135255 h 135255"/>
                  <a:gd name="connsiteX2" fmla="*/ 0 w 112394"/>
                  <a:gd name="connsiteY2" fmla="*/ 135255 h 135255"/>
                  <a:gd name="connsiteX3" fmla="*/ 45720 w 112394"/>
                  <a:gd name="connsiteY3" fmla="*/ 0 h 135255"/>
                  <a:gd name="connsiteX4" fmla="*/ 66675 w 112394"/>
                  <a:gd name="connsiteY4" fmla="*/ 0 h 135255"/>
                  <a:gd name="connsiteX5" fmla="*/ 112395 w 112394"/>
                  <a:gd name="connsiteY5" fmla="*/ 135255 h 135255"/>
                  <a:gd name="connsiteX6" fmla="*/ 93345 w 112394"/>
                  <a:gd name="connsiteY6" fmla="*/ 135255 h 135255"/>
                  <a:gd name="connsiteX7" fmla="*/ 79057 w 112394"/>
                  <a:gd name="connsiteY7" fmla="*/ 92393 h 135255"/>
                  <a:gd name="connsiteX8" fmla="*/ 32385 w 112394"/>
                  <a:gd name="connsiteY8" fmla="*/ 92393 h 135255"/>
                  <a:gd name="connsiteX9" fmla="*/ 76200 w 112394"/>
                  <a:gd name="connsiteY9" fmla="*/ 79057 h 135255"/>
                  <a:gd name="connsiteX10" fmla="*/ 62865 w 112394"/>
                  <a:gd name="connsiteY10" fmla="*/ 40005 h 135255"/>
                  <a:gd name="connsiteX11" fmla="*/ 56198 w 112394"/>
                  <a:gd name="connsiteY11" fmla="*/ 15240 h 135255"/>
                  <a:gd name="connsiteX12" fmla="*/ 56198 w 112394"/>
                  <a:gd name="connsiteY12" fmla="*/ 15240 h 135255"/>
                  <a:gd name="connsiteX13" fmla="*/ 49530 w 112394"/>
                  <a:gd name="connsiteY13" fmla="*/ 40005 h 135255"/>
                  <a:gd name="connsiteX14" fmla="*/ 36195 w 112394"/>
                  <a:gd name="connsiteY14" fmla="*/ 79057 h 135255"/>
                  <a:gd name="connsiteX15" fmla="*/ 76200 w 112394"/>
                  <a:gd name="connsiteY15" fmla="*/ 79057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394" h="135255">
                    <a:moveTo>
                      <a:pt x="32385" y="92393"/>
                    </a:moveTo>
                    <a:lnTo>
                      <a:pt x="18098" y="135255"/>
                    </a:lnTo>
                    <a:lnTo>
                      <a:pt x="0" y="135255"/>
                    </a:lnTo>
                    <a:lnTo>
                      <a:pt x="45720" y="0"/>
                    </a:lnTo>
                    <a:lnTo>
                      <a:pt x="66675" y="0"/>
                    </a:lnTo>
                    <a:lnTo>
                      <a:pt x="112395" y="135255"/>
                    </a:lnTo>
                    <a:lnTo>
                      <a:pt x="93345" y="135255"/>
                    </a:lnTo>
                    <a:lnTo>
                      <a:pt x="79057" y="92393"/>
                    </a:lnTo>
                    <a:lnTo>
                      <a:pt x="32385" y="92393"/>
                    </a:lnTo>
                    <a:close/>
                    <a:moveTo>
                      <a:pt x="76200" y="79057"/>
                    </a:moveTo>
                    <a:lnTo>
                      <a:pt x="62865" y="40005"/>
                    </a:lnTo>
                    <a:cubicBezTo>
                      <a:pt x="60007" y="31432"/>
                      <a:pt x="58102" y="22860"/>
                      <a:pt x="56198" y="15240"/>
                    </a:cubicBezTo>
                    <a:lnTo>
                      <a:pt x="56198" y="15240"/>
                    </a:lnTo>
                    <a:cubicBezTo>
                      <a:pt x="54293" y="22860"/>
                      <a:pt x="52388" y="31432"/>
                      <a:pt x="49530" y="40005"/>
                    </a:cubicBezTo>
                    <a:lnTo>
                      <a:pt x="36195" y="79057"/>
                    </a:lnTo>
                    <a:lnTo>
                      <a:pt x="76200" y="79057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3" name="Freeform: Shape 103">
                <a:extLst>
                  <a:ext uri="{FF2B5EF4-FFF2-40B4-BE49-F238E27FC236}">
                    <a16:creationId xmlns:a16="http://schemas.microsoft.com/office/drawing/2014/main" id="{9FAC0253-3AB9-7A42-5408-926E225248DB}"/>
                  </a:ext>
                </a:extLst>
              </p:cNvPr>
              <p:cNvSpPr/>
              <p:nvPr/>
            </p:nvSpPr>
            <p:spPr>
              <a:xfrm>
                <a:off x="9988136" y="3715148"/>
                <a:ext cx="100012" cy="135255"/>
              </a:xfrm>
              <a:custGeom>
                <a:avLst/>
                <a:gdLst>
                  <a:gd name="connsiteX0" fmla="*/ 40958 w 100012"/>
                  <a:gd name="connsiteY0" fmla="*/ 15240 h 135255"/>
                  <a:gd name="connsiteX1" fmla="*/ 0 w 100012"/>
                  <a:gd name="connsiteY1" fmla="*/ 15240 h 135255"/>
                  <a:gd name="connsiteX2" fmla="*/ 0 w 100012"/>
                  <a:gd name="connsiteY2" fmla="*/ 0 h 135255"/>
                  <a:gd name="connsiteX3" fmla="*/ 100013 w 100012"/>
                  <a:gd name="connsiteY3" fmla="*/ 0 h 135255"/>
                  <a:gd name="connsiteX4" fmla="*/ 100013 w 100012"/>
                  <a:gd name="connsiteY4" fmla="*/ 15240 h 135255"/>
                  <a:gd name="connsiteX5" fmla="*/ 59055 w 100012"/>
                  <a:gd name="connsiteY5" fmla="*/ 15240 h 135255"/>
                  <a:gd name="connsiteX6" fmla="*/ 59055 w 100012"/>
                  <a:gd name="connsiteY6" fmla="*/ 135255 h 135255"/>
                  <a:gd name="connsiteX7" fmla="*/ 41910 w 100012"/>
                  <a:gd name="connsiteY7" fmla="*/ 135255 h 135255"/>
                  <a:gd name="connsiteX8" fmla="*/ 41910 w 100012"/>
                  <a:gd name="connsiteY8" fmla="*/ 1524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12" h="135255">
                    <a:moveTo>
                      <a:pt x="40958" y="15240"/>
                    </a:moveTo>
                    <a:lnTo>
                      <a:pt x="0" y="15240"/>
                    </a:lnTo>
                    <a:lnTo>
                      <a:pt x="0" y="0"/>
                    </a:lnTo>
                    <a:lnTo>
                      <a:pt x="100013" y="0"/>
                    </a:lnTo>
                    <a:lnTo>
                      <a:pt x="100013" y="15240"/>
                    </a:lnTo>
                    <a:lnTo>
                      <a:pt x="59055" y="15240"/>
                    </a:lnTo>
                    <a:lnTo>
                      <a:pt x="59055" y="135255"/>
                    </a:lnTo>
                    <a:lnTo>
                      <a:pt x="41910" y="135255"/>
                    </a:lnTo>
                    <a:lnTo>
                      <a:pt x="41910" y="1524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grpSp>
          <p:nvGrpSpPr>
            <p:cNvPr id="15" name="Group 65">
              <a:extLst>
                <a:ext uri="{FF2B5EF4-FFF2-40B4-BE49-F238E27FC236}">
                  <a16:creationId xmlns:a16="http://schemas.microsoft.com/office/drawing/2014/main" id="{2F10F08B-1F56-71DF-1B7F-22F3744C3499}"/>
                </a:ext>
              </a:extLst>
            </p:cNvPr>
            <p:cNvGrpSpPr/>
            <p:nvPr/>
          </p:nvGrpSpPr>
          <p:grpSpPr>
            <a:xfrm>
              <a:off x="4488401" y="2530239"/>
              <a:ext cx="1140142" cy="1263014"/>
              <a:chOff x="4488401" y="2530239"/>
              <a:chExt cx="1140142" cy="1263014"/>
            </a:xfrm>
          </p:grpSpPr>
          <p:sp>
            <p:nvSpPr>
              <p:cNvPr id="16" name="Freeform: Shape 66">
                <a:extLst>
                  <a:ext uri="{FF2B5EF4-FFF2-40B4-BE49-F238E27FC236}">
                    <a16:creationId xmlns:a16="http://schemas.microsoft.com/office/drawing/2014/main" id="{A6729E10-E3EC-6B13-3C6E-DD48F5945FAC}"/>
                  </a:ext>
                </a:extLst>
              </p:cNvPr>
              <p:cNvSpPr/>
              <p:nvPr/>
            </p:nvSpPr>
            <p:spPr>
              <a:xfrm>
                <a:off x="4849398" y="3387488"/>
                <a:ext cx="382905" cy="405765"/>
              </a:xfrm>
              <a:custGeom>
                <a:avLst/>
                <a:gdLst>
                  <a:gd name="connsiteX0" fmla="*/ 48578 w 382905"/>
                  <a:gd name="connsiteY0" fmla="*/ 274320 h 405765"/>
                  <a:gd name="connsiteX1" fmla="*/ 48578 w 382905"/>
                  <a:gd name="connsiteY1" fmla="*/ 274320 h 405765"/>
                  <a:gd name="connsiteX2" fmla="*/ 213360 w 382905"/>
                  <a:gd name="connsiteY2" fmla="*/ 405765 h 405765"/>
                  <a:gd name="connsiteX3" fmla="*/ 382905 w 382905"/>
                  <a:gd name="connsiteY3" fmla="*/ 236220 h 405765"/>
                  <a:gd name="connsiteX4" fmla="*/ 382905 w 382905"/>
                  <a:gd name="connsiteY4" fmla="*/ 236220 h 405765"/>
                  <a:gd name="connsiteX5" fmla="*/ 298133 w 382905"/>
                  <a:gd name="connsiteY5" fmla="*/ 88583 h 405765"/>
                  <a:gd name="connsiteX6" fmla="*/ 54293 w 382905"/>
                  <a:gd name="connsiteY6" fmla="*/ 50483 h 405765"/>
                  <a:gd name="connsiteX7" fmla="*/ 0 w 382905"/>
                  <a:gd name="connsiteY7" fmla="*/ 0 h 405765"/>
                  <a:gd name="connsiteX8" fmla="*/ 0 w 382905"/>
                  <a:gd name="connsiteY8" fmla="*/ 0 h 405765"/>
                  <a:gd name="connsiteX9" fmla="*/ 48578 w 382905"/>
                  <a:gd name="connsiteY9" fmla="*/ 274320 h 405765"/>
                  <a:gd name="connsiteX10" fmla="*/ 48578 w 382905"/>
                  <a:gd name="connsiteY10" fmla="*/ 274320 h 405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2905" h="405765">
                    <a:moveTo>
                      <a:pt x="48578" y="274320"/>
                    </a:moveTo>
                    <a:lnTo>
                      <a:pt x="48578" y="274320"/>
                    </a:lnTo>
                    <a:cubicBezTo>
                      <a:pt x="65723" y="349568"/>
                      <a:pt x="133350" y="405765"/>
                      <a:pt x="213360" y="405765"/>
                    </a:cubicBezTo>
                    <a:cubicBezTo>
                      <a:pt x="306705" y="405765"/>
                      <a:pt x="382905" y="329565"/>
                      <a:pt x="382905" y="236220"/>
                    </a:cubicBezTo>
                    <a:lnTo>
                      <a:pt x="382905" y="236220"/>
                    </a:lnTo>
                    <a:cubicBezTo>
                      <a:pt x="382905" y="177165"/>
                      <a:pt x="352425" y="120015"/>
                      <a:pt x="298133" y="88583"/>
                    </a:cubicBezTo>
                    <a:cubicBezTo>
                      <a:pt x="203835" y="34290"/>
                      <a:pt x="148590" y="104775"/>
                      <a:pt x="54293" y="50483"/>
                    </a:cubicBezTo>
                    <a:cubicBezTo>
                      <a:pt x="28575" y="35243"/>
                      <a:pt x="11430" y="18098"/>
                      <a:pt x="0" y="0"/>
                    </a:cubicBezTo>
                    <a:lnTo>
                      <a:pt x="0" y="0"/>
                    </a:lnTo>
                    <a:lnTo>
                      <a:pt x="48578" y="274320"/>
                    </a:lnTo>
                    <a:lnTo>
                      <a:pt x="48578" y="274320"/>
                    </a:lnTo>
                    <a:close/>
                  </a:path>
                </a:pathLst>
              </a:custGeom>
              <a:solidFill>
                <a:srgbClr val="C85A0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7" name="Freeform: Shape 67">
                <a:extLst>
                  <a:ext uri="{FF2B5EF4-FFF2-40B4-BE49-F238E27FC236}">
                    <a16:creationId xmlns:a16="http://schemas.microsoft.com/office/drawing/2014/main" id="{47EACCDC-4FE3-50FF-EA0F-4A6671F66971}"/>
                  </a:ext>
                </a:extLst>
              </p:cNvPr>
              <p:cNvSpPr/>
              <p:nvPr/>
            </p:nvSpPr>
            <p:spPr>
              <a:xfrm>
                <a:off x="4488401" y="3061734"/>
                <a:ext cx="409575" cy="601027"/>
              </a:xfrm>
              <a:custGeom>
                <a:avLst/>
                <a:gdLst>
                  <a:gd name="connsiteX0" fmla="*/ 53340 w 409575"/>
                  <a:gd name="connsiteY0" fmla="*/ 206692 h 601027"/>
                  <a:gd name="connsiteX1" fmla="*/ 0 w 409575"/>
                  <a:gd name="connsiteY1" fmla="*/ 330517 h 601027"/>
                  <a:gd name="connsiteX2" fmla="*/ 169545 w 409575"/>
                  <a:gd name="connsiteY2" fmla="*/ 500063 h 601027"/>
                  <a:gd name="connsiteX3" fmla="*/ 206693 w 409575"/>
                  <a:gd name="connsiteY3" fmla="*/ 496253 h 601027"/>
                  <a:gd name="connsiteX4" fmla="*/ 337185 w 409575"/>
                  <a:gd name="connsiteY4" fmla="*/ 512445 h 601027"/>
                  <a:gd name="connsiteX5" fmla="*/ 409575 w 409575"/>
                  <a:gd name="connsiteY5" fmla="*/ 601028 h 601027"/>
                  <a:gd name="connsiteX6" fmla="*/ 409575 w 409575"/>
                  <a:gd name="connsiteY6" fmla="*/ 601028 h 601027"/>
                  <a:gd name="connsiteX7" fmla="*/ 360045 w 409575"/>
                  <a:gd name="connsiteY7" fmla="*/ 326708 h 601027"/>
                  <a:gd name="connsiteX8" fmla="*/ 360045 w 409575"/>
                  <a:gd name="connsiteY8" fmla="*/ 326708 h 601027"/>
                  <a:gd name="connsiteX9" fmla="*/ 329565 w 409575"/>
                  <a:gd name="connsiteY9" fmla="*/ 265748 h 601027"/>
                  <a:gd name="connsiteX10" fmla="*/ 249555 w 409575"/>
                  <a:gd name="connsiteY10" fmla="*/ 100965 h 601027"/>
                  <a:gd name="connsiteX11" fmla="*/ 282893 w 409575"/>
                  <a:gd name="connsiteY11" fmla="*/ 0 h 601027"/>
                  <a:gd name="connsiteX12" fmla="*/ 53340 w 409575"/>
                  <a:gd name="connsiteY12" fmla="*/ 206692 h 601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09575" h="601027">
                    <a:moveTo>
                      <a:pt x="53340" y="206692"/>
                    </a:moveTo>
                    <a:cubicBezTo>
                      <a:pt x="27622" y="239077"/>
                      <a:pt x="0" y="267653"/>
                      <a:pt x="0" y="330517"/>
                    </a:cubicBezTo>
                    <a:cubicBezTo>
                      <a:pt x="0" y="423863"/>
                      <a:pt x="76200" y="500063"/>
                      <a:pt x="169545" y="500063"/>
                    </a:cubicBezTo>
                    <a:cubicBezTo>
                      <a:pt x="182880" y="500063"/>
                      <a:pt x="195263" y="498158"/>
                      <a:pt x="206693" y="496253"/>
                    </a:cubicBezTo>
                    <a:cubicBezTo>
                      <a:pt x="245745" y="490538"/>
                      <a:pt x="283845" y="481965"/>
                      <a:pt x="337185" y="512445"/>
                    </a:cubicBezTo>
                    <a:cubicBezTo>
                      <a:pt x="381953" y="538163"/>
                      <a:pt x="397193" y="569595"/>
                      <a:pt x="409575" y="601028"/>
                    </a:cubicBezTo>
                    <a:lnTo>
                      <a:pt x="409575" y="601028"/>
                    </a:lnTo>
                    <a:lnTo>
                      <a:pt x="360045" y="326708"/>
                    </a:lnTo>
                    <a:lnTo>
                      <a:pt x="360045" y="326708"/>
                    </a:lnTo>
                    <a:cubicBezTo>
                      <a:pt x="346710" y="306705"/>
                      <a:pt x="339090" y="285750"/>
                      <a:pt x="329565" y="265748"/>
                    </a:cubicBezTo>
                    <a:cubicBezTo>
                      <a:pt x="298133" y="198120"/>
                      <a:pt x="249555" y="188595"/>
                      <a:pt x="249555" y="100965"/>
                    </a:cubicBezTo>
                    <a:cubicBezTo>
                      <a:pt x="249555" y="55245"/>
                      <a:pt x="264795" y="25718"/>
                      <a:pt x="282893" y="0"/>
                    </a:cubicBezTo>
                    <a:lnTo>
                      <a:pt x="53340" y="206692"/>
                    </a:lnTo>
                    <a:close/>
                  </a:path>
                </a:pathLst>
              </a:custGeom>
              <a:solidFill>
                <a:srgbClr val="EE720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8" name="Freeform: Shape 68">
                <a:extLst>
                  <a:ext uri="{FF2B5EF4-FFF2-40B4-BE49-F238E27FC236}">
                    <a16:creationId xmlns:a16="http://schemas.microsoft.com/office/drawing/2014/main" id="{3D4528F6-D60A-107E-453C-6E2297231A83}"/>
                  </a:ext>
                </a:extLst>
              </p:cNvPr>
              <p:cNvSpPr/>
              <p:nvPr/>
            </p:nvSpPr>
            <p:spPr>
              <a:xfrm>
                <a:off x="4488401" y="2760744"/>
                <a:ext cx="527684" cy="507682"/>
              </a:xfrm>
              <a:custGeom>
                <a:avLst/>
                <a:gdLst>
                  <a:gd name="connsiteX0" fmla="*/ 212408 w 527684"/>
                  <a:gd name="connsiteY0" fmla="*/ 2858 h 507682"/>
                  <a:gd name="connsiteX1" fmla="*/ 129540 w 527684"/>
                  <a:gd name="connsiteY1" fmla="*/ 5715 h 507682"/>
                  <a:gd name="connsiteX2" fmla="*/ 0 w 527684"/>
                  <a:gd name="connsiteY2" fmla="*/ 170497 h 507682"/>
                  <a:gd name="connsiteX3" fmla="*/ 93345 w 527684"/>
                  <a:gd name="connsiteY3" fmla="*/ 401003 h 507682"/>
                  <a:gd name="connsiteX4" fmla="*/ 53340 w 527684"/>
                  <a:gd name="connsiteY4" fmla="*/ 507682 h 507682"/>
                  <a:gd name="connsiteX5" fmla="*/ 283845 w 527684"/>
                  <a:gd name="connsiteY5" fmla="*/ 300038 h 507682"/>
                  <a:gd name="connsiteX6" fmla="*/ 283845 w 527684"/>
                  <a:gd name="connsiteY6" fmla="*/ 300038 h 507682"/>
                  <a:gd name="connsiteX7" fmla="*/ 412433 w 527684"/>
                  <a:gd name="connsiteY7" fmla="*/ 119063 h 507682"/>
                  <a:gd name="connsiteX8" fmla="*/ 527685 w 527684"/>
                  <a:gd name="connsiteY8" fmla="*/ 100965 h 507682"/>
                  <a:gd name="connsiteX9" fmla="*/ 527685 w 527684"/>
                  <a:gd name="connsiteY9" fmla="*/ 100965 h 507682"/>
                  <a:gd name="connsiteX10" fmla="*/ 212408 w 527684"/>
                  <a:gd name="connsiteY10" fmla="*/ 2858 h 507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27684" h="507682">
                    <a:moveTo>
                      <a:pt x="212408" y="2858"/>
                    </a:moveTo>
                    <a:cubicBezTo>
                      <a:pt x="185738" y="0"/>
                      <a:pt x="160020" y="-2857"/>
                      <a:pt x="129540" y="5715"/>
                    </a:cubicBezTo>
                    <a:cubicBezTo>
                      <a:pt x="55245" y="23812"/>
                      <a:pt x="0" y="90488"/>
                      <a:pt x="0" y="170497"/>
                    </a:cubicBezTo>
                    <a:cubicBezTo>
                      <a:pt x="0" y="285750"/>
                      <a:pt x="93345" y="286703"/>
                      <a:pt x="93345" y="401003"/>
                    </a:cubicBezTo>
                    <a:cubicBezTo>
                      <a:pt x="93345" y="452438"/>
                      <a:pt x="74295" y="481013"/>
                      <a:pt x="53340" y="507682"/>
                    </a:cubicBezTo>
                    <a:lnTo>
                      <a:pt x="283845" y="300038"/>
                    </a:lnTo>
                    <a:lnTo>
                      <a:pt x="283845" y="300038"/>
                    </a:lnTo>
                    <a:cubicBezTo>
                      <a:pt x="352425" y="243840"/>
                      <a:pt x="322898" y="171450"/>
                      <a:pt x="412433" y="119063"/>
                    </a:cubicBezTo>
                    <a:cubicBezTo>
                      <a:pt x="458153" y="92392"/>
                      <a:pt x="493395" y="95250"/>
                      <a:pt x="527685" y="100965"/>
                    </a:cubicBezTo>
                    <a:lnTo>
                      <a:pt x="527685" y="100965"/>
                    </a:lnTo>
                    <a:lnTo>
                      <a:pt x="212408" y="2858"/>
                    </a:lnTo>
                    <a:close/>
                  </a:path>
                </a:pathLst>
              </a:custGeom>
              <a:solidFill>
                <a:srgbClr val="F3953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grpSp>
            <p:nvGrpSpPr>
              <p:cNvPr id="19" name="Graphic 7">
                <a:extLst>
                  <a:ext uri="{FF2B5EF4-FFF2-40B4-BE49-F238E27FC236}">
                    <a16:creationId xmlns:a16="http://schemas.microsoft.com/office/drawing/2014/main" id="{F2D75F28-A22F-4018-E38A-7B210D1FB2FF}"/>
                  </a:ext>
                </a:extLst>
              </p:cNvPr>
              <p:cNvGrpSpPr/>
              <p:nvPr/>
            </p:nvGrpSpPr>
            <p:grpSpPr>
              <a:xfrm>
                <a:off x="4703666" y="2530239"/>
                <a:ext cx="924877" cy="570547"/>
                <a:chOff x="4703666" y="2530239"/>
                <a:chExt cx="924877" cy="570547"/>
              </a:xfrm>
              <a:solidFill>
                <a:srgbClr val="BFC3C6"/>
              </a:solidFill>
            </p:grpSpPr>
            <p:sp>
              <p:nvSpPr>
                <p:cNvPr id="20" name="Freeform: Shape 70">
                  <a:extLst>
                    <a:ext uri="{FF2B5EF4-FFF2-40B4-BE49-F238E27FC236}">
                      <a16:creationId xmlns:a16="http://schemas.microsoft.com/office/drawing/2014/main" id="{497E6F83-9587-D76F-FFB7-E39C6FCACE29}"/>
                    </a:ext>
                  </a:extLst>
                </p:cNvPr>
                <p:cNvSpPr/>
                <p:nvPr/>
              </p:nvSpPr>
              <p:spPr>
                <a:xfrm>
                  <a:off x="4703666" y="2530239"/>
                  <a:ext cx="528637" cy="338137"/>
                </a:xfrm>
                <a:custGeom>
                  <a:avLst/>
                  <a:gdLst>
                    <a:gd name="connsiteX0" fmla="*/ 528638 w 528637"/>
                    <a:gd name="connsiteY0" fmla="*/ 168593 h 338137"/>
                    <a:gd name="connsiteX1" fmla="*/ 528638 w 528637"/>
                    <a:gd name="connsiteY1" fmla="*/ 168593 h 338137"/>
                    <a:gd name="connsiteX2" fmla="*/ 528638 w 528637"/>
                    <a:gd name="connsiteY2" fmla="*/ 163830 h 338137"/>
                    <a:gd name="connsiteX3" fmla="*/ 528638 w 528637"/>
                    <a:gd name="connsiteY3" fmla="*/ 163830 h 338137"/>
                    <a:gd name="connsiteX4" fmla="*/ 528638 w 528637"/>
                    <a:gd name="connsiteY4" fmla="*/ 160020 h 338137"/>
                    <a:gd name="connsiteX5" fmla="*/ 528638 w 528637"/>
                    <a:gd name="connsiteY5" fmla="*/ 160020 h 338137"/>
                    <a:gd name="connsiteX6" fmla="*/ 528638 w 528637"/>
                    <a:gd name="connsiteY6" fmla="*/ 156210 h 338137"/>
                    <a:gd name="connsiteX7" fmla="*/ 528638 w 528637"/>
                    <a:gd name="connsiteY7" fmla="*/ 156210 h 338137"/>
                    <a:gd name="connsiteX8" fmla="*/ 528638 w 528637"/>
                    <a:gd name="connsiteY8" fmla="*/ 152400 h 338137"/>
                    <a:gd name="connsiteX9" fmla="*/ 528638 w 528637"/>
                    <a:gd name="connsiteY9" fmla="*/ 151448 h 338137"/>
                    <a:gd name="connsiteX10" fmla="*/ 528638 w 528637"/>
                    <a:gd name="connsiteY10" fmla="*/ 147638 h 338137"/>
                    <a:gd name="connsiteX11" fmla="*/ 528638 w 528637"/>
                    <a:gd name="connsiteY11" fmla="*/ 147638 h 338137"/>
                    <a:gd name="connsiteX12" fmla="*/ 528638 w 528637"/>
                    <a:gd name="connsiteY12" fmla="*/ 143828 h 338137"/>
                    <a:gd name="connsiteX13" fmla="*/ 528638 w 528637"/>
                    <a:gd name="connsiteY13" fmla="*/ 142875 h 338137"/>
                    <a:gd name="connsiteX14" fmla="*/ 496253 w 528637"/>
                    <a:gd name="connsiteY14" fmla="*/ 65723 h 338137"/>
                    <a:gd name="connsiteX15" fmla="*/ 493395 w 528637"/>
                    <a:gd name="connsiteY15" fmla="*/ 64770 h 338137"/>
                    <a:gd name="connsiteX16" fmla="*/ 492443 w 528637"/>
                    <a:gd name="connsiteY16" fmla="*/ 63818 h 338137"/>
                    <a:gd name="connsiteX17" fmla="*/ 457200 w 528637"/>
                    <a:gd name="connsiteY17" fmla="*/ 30480 h 338137"/>
                    <a:gd name="connsiteX18" fmla="*/ 457200 w 528637"/>
                    <a:gd name="connsiteY18" fmla="*/ 30480 h 338137"/>
                    <a:gd name="connsiteX19" fmla="*/ 454343 w 528637"/>
                    <a:gd name="connsiteY19" fmla="*/ 28575 h 338137"/>
                    <a:gd name="connsiteX20" fmla="*/ 452438 w 528637"/>
                    <a:gd name="connsiteY20" fmla="*/ 27622 h 338137"/>
                    <a:gd name="connsiteX21" fmla="*/ 451485 w 528637"/>
                    <a:gd name="connsiteY21" fmla="*/ 26670 h 338137"/>
                    <a:gd name="connsiteX22" fmla="*/ 362903 w 528637"/>
                    <a:gd name="connsiteY22" fmla="*/ 0 h 338137"/>
                    <a:gd name="connsiteX23" fmla="*/ 362903 w 528637"/>
                    <a:gd name="connsiteY23" fmla="*/ 0 h 338137"/>
                    <a:gd name="connsiteX24" fmla="*/ 359093 w 528637"/>
                    <a:gd name="connsiteY24" fmla="*/ 0 h 338137"/>
                    <a:gd name="connsiteX25" fmla="*/ 359093 w 528637"/>
                    <a:gd name="connsiteY25" fmla="*/ 0 h 338137"/>
                    <a:gd name="connsiteX26" fmla="*/ 355283 w 528637"/>
                    <a:gd name="connsiteY26" fmla="*/ 0 h 338137"/>
                    <a:gd name="connsiteX27" fmla="*/ 355283 w 528637"/>
                    <a:gd name="connsiteY27" fmla="*/ 0 h 338137"/>
                    <a:gd name="connsiteX28" fmla="*/ 351473 w 528637"/>
                    <a:gd name="connsiteY28" fmla="*/ 0 h 338137"/>
                    <a:gd name="connsiteX29" fmla="*/ 351473 w 528637"/>
                    <a:gd name="connsiteY29" fmla="*/ 0 h 338137"/>
                    <a:gd name="connsiteX30" fmla="*/ 347663 w 528637"/>
                    <a:gd name="connsiteY30" fmla="*/ 0 h 338137"/>
                    <a:gd name="connsiteX31" fmla="*/ 347663 w 528637"/>
                    <a:gd name="connsiteY31" fmla="*/ 0 h 338137"/>
                    <a:gd name="connsiteX32" fmla="*/ 346710 w 528637"/>
                    <a:gd name="connsiteY32" fmla="*/ 0 h 338137"/>
                    <a:gd name="connsiteX33" fmla="*/ 342900 w 528637"/>
                    <a:gd name="connsiteY33" fmla="*/ 0 h 338137"/>
                    <a:gd name="connsiteX34" fmla="*/ 342900 w 528637"/>
                    <a:gd name="connsiteY34" fmla="*/ 0 h 338137"/>
                    <a:gd name="connsiteX35" fmla="*/ 339090 w 528637"/>
                    <a:gd name="connsiteY35" fmla="*/ 0 h 338137"/>
                    <a:gd name="connsiteX36" fmla="*/ 338138 w 528637"/>
                    <a:gd name="connsiteY36" fmla="*/ 0 h 338137"/>
                    <a:gd name="connsiteX37" fmla="*/ 335280 w 528637"/>
                    <a:gd name="connsiteY37" fmla="*/ 0 h 338137"/>
                    <a:gd name="connsiteX38" fmla="*/ 333375 w 528637"/>
                    <a:gd name="connsiteY38" fmla="*/ 0 h 338137"/>
                    <a:gd name="connsiteX39" fmla="*/ 330518 w 528637"/>
                    <a:gd name="connsiteY39" fmla="*/ 0 h 338137"/>
                    <a:gd name="connsiteX40" fmla="*/ 330518 w 528637"/>
                    <a:gd name="connsiteY40" fmla="*/ 0 h 338137"/>
                    <a:gd name="connsiteX41" fmla="*/ 327660 w 528637"/>
                    <a:gd name="connsiteY41" fmla="*/ 952 h 338137"/>
                    <a:gd name="connsiteX42" fmla="*/ 327660 w 528637"/>
                    <a:gd name="connsiteY42" fmla="*/ 952 h 338137"/>
                    <a:gd name="connsiteX43" fmla="*/ 324803 w 528637"/>
                    <a:gd name="connsiteY43" fmla="*/ 1905 h 338137"/>
                    <a:gd name="connsiteX44" fmla="*/ 323850 w 528637"/>
                    <a:gd name="connsiteY44" fmla="*/ 1905 h 338137"/>
                    <a:gd name="connsiteX45" fmla="*/ 269558 w 528637"/>
                    <a:gd name="connsiteY45" fmla="*/ 24765 h 338137"/>
                    <a:gd name="connsiteX46" fmla="*/ 241935 w 528637"/>
                    <a:gd name="connsiteY46" fmla="*/ 47625 h 338137"/>
                    <a:gd name="connsiteX47" fmla="*/ 241935 w 528637"/>
                    <a:gd name="connsiteY47" fmla="*/ 47625 h 338137"/>
                    <a:gd name="connsiteX48" fmla="*/ 241935 w 528637"/>
                    <a:gd name="connsiteY48" fmla="*/ 47625 h 338137"/>
                    <a:gd name="connsiteX49" fmla="*/ 200025 w 528637"/>
                    <a:gd name="connsiteY49" fmla="*/ 118110 h 338137"/>
                    <a:gd name="connsiteX50" fmla="*/ 121920 w 528637"/>
                    <a:gd name="connsiteY50" fmla="*/ 212408 h 338137"/>
                    <a:gd name="connsiteX51" fmla="*/ 0 w 528637"/>
                    <a:gd name="connsiteY51" fmla="*/ 231458 h 338137"/>
                    <a:gd name="connsiteX52" fmla="*/ 313373 w 528637"/>
                    <a:gd name="connsiteY52" fmla="*/ 331470 h 338137"/>
                    <a:gd name="connsiteX53" fmla="*/ 313373 w 528637"/>
                    <a:gd name="connsiteY53" fmla="*/ 331470 h 338137"/>
                    <a:gd name="connsiteX54" fmla="*/ 360045 w 528637"/>
                    <a:gd name="connsiteY54" fmla="*/ 338138 h 338137"/>
                    <a:gd name="connsiteX55" fmla="*/ 381953 w 528637"/>
                    <a:gd name="connsiteY55" fmla="*/ 337185 h 338137"/>
                    <a:gd name="connsiteX56" fmla="*/ 441008 w 528637"/>
                    <a:gd name="connsiteY56" fmla="*/ 318135 h 338137"/>
                    <a:gd name="connsiteX57" fmla="*/ 448628 w 528637"/>
                    <a:gd name="connsiteY57" fmla="*/ 313373 h 338137"/>
                    <a:gd name="connsiteX58" fmla="*/ 449580 w 528637"/>
                    <a:gd name="connsiteY58" fmla="*/ 312420 h 338137"/>
                    <a:gd name="connsiteX59" fmla="*/ 452438 w 528637"/>
                    <a:gd name="connsiteY59" fmla="*/ 310515 h 338137"/>
                    <a:gd name="connsiteX60" fmla="*/ 455295 w 528637"/>
                    <a:gd name="connsiteY60" fmla="*/ 308610 h 338137"/>
                    <a:gd name="connsiteX61" fmla="*/ 456247 w 528637"/>
                    <a:gd name="connsiteY61" fmla="*/ 308610 h 338137"/>
                    <a:gd name="connsiteX62" fmla="*/ 503872 w 528637"/>
                    <a:gd name="connsiteY62" fmla="*/ 260033 h 338137"/>
                    <a:gd name="connsiteX63" fmla="*/ 504825 w 528637"/>
                    <a:gd name="connsiteY63" fmla="*/ 259080 h 338137"/>
                    <a:gd name="connsiteX64" fmla="*/ 505778 w 528637"/>
                    <a:gd name="connsiteY64" fmla="*/ 257175 h 338137"/>
                    <a:gd name="connsiteX65" fmla="*/ 507683 w 528637"/>
                    <a:gd name="connsiteY65" fmla="*/ 254318 h 338137"/>
                    <a:gd name="connsiteX66" fmla="*/ 507683 w 528637"/>
                    <a:gd name="connsiteY66" fmla="*/ 253365 h 338137"/>
                    <a:gd name="connsiteX67" fmla="*/ 528638 w 528637"/>
                    <a:gd name="connsiteY67" fmla="*/ 168593 h 338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</a:cxnLst>
                  <a:rect l="l" t="t" r="r" b="b"/>
                  <a:pathLst>
                    <a:path w="528637" h="338137">
                      <a:moveTo>
                        <a:pt x="528638" y="168593"/>
                      </a:moveTo>
                      <a:lnTo>
                        <a:pt x="528638" y="168593"/>
                      </a:lnTo>
                      <a:lnTo>
                        <a:pt x="528638" y="163830"/>
                      </a:lnTo>
                      <a:lnTo>
                        <a:pt x="528638" y="163830"/>
                      </a:lnTo>
                      <a:lnTo>
                        <a:pt x="528638" y="160020"/>
                      </a:lnTo>
                      <a:lnTo>
                        <a:pt x="528638" y="160020"/>
                      </a:lnTo>
                      <a:lnTo>
                        <a:pt x="528638" y="156210"/>
                      </a:lnTo>
                      <a:lnTo>
                        <a:pt x="528638" y="156210"/>
                      </a:lnTo>
                      <a:lnTo>
                        <a:pt x="528638" y="152400"/>
                      </a:lnTo>
                      <a:lnTo>
                        <a:pt x="528638" y="151448"/>
                      </a:lnTo>
                      <a:lnTo>
                        <a:pt x="528638" y="147638"/>
                      </a:lnTo>
                      <a:lnTo>
                        <a:pt x="528638" y="147638"/>
                      </a:lnTo>
                      <a:lnTo>
                        <a:pt x="528638" y="143828"/>
                      </a:lnTo>
                      <a:lnTo>
                        <a:pt x="528638" y="142875"/>
                      </a:lnTo>
                      <a:cubicBezTo>
                        <a:pt x="524828" y="114300"/>
                        <a:pt x="513397" y="87630"/>
                        <a:pt x="496253" y="65723"/>
                      </a:cubicBezTo>
                      <a:lnTo>
                        <a:pt x="493395" y="64770"/>
                      </a:lnTo>
                      <a:lnTo>
                        <a:pt x="492443" y="63818"/>
                      </a:lnTo>
                      <a:cubicBezTo>
                        <a:pt x="481965" y="50483"/>
                        <a:pt x="470535" y="40005"/>
                        <a:pt x="457200" y="30480"/>
                      </a:cubicBezTo>
                      <a:lnTo>
                        <a:pt x="457200" y="30480"/>
                      </a:lnTo>
                      <a:lnTo>
                        <a:pt x="454343" y="28575"/>
                      </a:lnTo>
                      <a:lnTo>
                        <a:pt x="452438" y="27622"/>
                      </a:lnTo>
                      <a:lnTo>
                        <a:pt x="451485" y="26670"/>
                      </a:lnTo>
                      <a:cubicBezTo>
                        <a:pt x="425768" y="10477"/>
                        <a:pt x="396240" y="0"/>
                        <a:pt x="362903" y="0"/>
                      </a:cubicBezTo>
                      <a:lnTo>
                        <a:pt x="362903" y="0"/>
                      </a:lnTo>
                      <a:lnTo>
                        <a:pt x="359093" y="0"/>
                      </a:lnTo>
                      <a:lnTo>
                        <a:pt x="359093" y="0"/>
                      </a:lnTo>
                      <a:lnTo>
                        <a:pt x="355283" y="0"/>
                      </a:lnTo>
                      <a:lnTo>
                        <a:pt x="355283" y="0"/>
                      </a:lnTo>
                      <a:lnTo>
                        <a:pt x="351473" y="0"/>
                      </a:lnTo>
                      <a:lnTo>
                        <a:pt x="351473" y="0"/>
                      </a:lnTo>
                      <a:lnTo>
                        <a:pt x="347663" y="0"/>
                      </a:lnTo>
                      <a:lnTo>
                        <a:pt x="347663" y="0"/>
                      </a:lnTo>
                      <a:lnTo>
                        <a:pt x="346710" y="0"/>
                      </a:lnTo>
                      <a:lnTo>
                        <a:pt x="342900" y="0"/>
                      </a:lnTo>
                      <a:lnTo>
                        <a:pt x="342900" y="0"/>
                      </a:lnTo>
                      <a:cubicBezTo>
                        <a:pt x="341948" y="0"/>
                        <a:pt x="340043" y="0"/>
                        <a:pt x="339090" y="0"/>
                      </a:cubicBezTo>
                      <a:lnTo>
                        <a:pt x="338138" y="0"/>
                      </a:lnTo>
                      <a:lnTo>
                        <a:pt x="335280" y="0"/>
                      </a:lnTo>
                      <a:lnTo>
                        <a:pt x="333375" y="0"/>
                      </a:lnTo>
                      <a:lnTo>
                        <a:pt x="330518" y="0"/>
                      </a:lnTo>
                      <a:lnTo>
                        <a:pt x="330518" y="0"/>
                      </a:lnTo>
                      <a:lnTo>
                        <a:pt x="327660" y="952"/>
                      </a:lnTo>
                      <a:lnTo>
                        <a:pt x="327660" y="952"/>
                      </a:lnTo>
                      <a:lnTo>
                        <a:pt x="324803" y="1905"/>
                      </a:lnTo>
                      <a:lnTo>
                        <a:pt x="323850" y="1905"/>
                      </a:lnTo>
                      <a:cubicBezTo>
                        <a:pt x="303848" y="6667"/>
                        <a:pt x="285750" y="14288"/>
                        <a:pt x="269558" y="24765"/>
                      </a:cubicBezTo>
                      <a:cubicBezTo>
                        <a:pt x="258128" y="31433"/>
                        <a:pt x="249555" y="39053"/>
                        <a:pt x="241935" y="47625"/>
                      </a:cubicBezTo>
                      <a:lnTo>
                        <a:pt x="241935" y="47625"/>
                      </a:lnTo>
                      <a:lnTo>
                        <a:pt x="241935" y="47625"/>
                      </a:lnTo>
                      <a:cubicBezTo>
                        <a:pt x="222885" y="66675"/>
                        <a:pt x="207645" y="91440"/>
                        <a:pt x="200025" y="118110"/>
                      </a:cubicBezTo>
                      <a:cubicBezTo>
                        <a:pt x="184785" y="151448"/>
                        <a:pt x="168593" y="185738"/>
                        <a:pt x="121920" y="212408"/>
                      </a:cubicBezTo>
                      <a:cubicBezTo>
                        <a:pt x="75248" y="240030"/>
                        <a:pt x="37148" y="235268"/>
                        <a:pt x="0" y="231458"/>
                      </a:cubicBezTo>
                      <a:lnTo>
                        <a:pt x="313373" y="331470"/>
                      </a:lnTo>
                      <a:lnTo>
                        <a:pt x="313373" y="331470"/>
                      </a:lnTo>
                      <a:cubicBezTo>
                        <a:pt x="327660" y="335280"/>
                        <a:pt x="343853" y="338138"/>
                        <a:pt x="360045" y="338138"/>
                      </a:cubicBezTo>
                      <a:cubicBezTo>
                        <a:pt x="367665" y="338138"/>
                        <a:pt x="374333" y="338138"/>
                        <a:pt x="381953" y="337185"/>
                      </a:cubicBezTo>
                      <a:cubicBezTo>
                        <a:pt x="400050" y="335280"/>
                        <a:pt x="419100" y="330518"/>
                        <a:pt x="441008" y="318135"/>
                      </a:cubicBezTo>
                      <a:cubicBezTo>
                        <a:pt x="443865" y="316230"/>
                        <a:pt x="446722" y="315278"/>
                        <a:pt x="448628" y="313373"/>
                      </a:cubicBezTo>
                      <a:lnTo>
                        <a:pt x="449580" y="312420"/>
                      </a:lnTo>
                      <a:lnTo>
                        <a:pt x="452438" y="310515"/>
                      </a:lnTo>
                      <a:lnTo>
                        <a:pt x="455295" y="308610"/>
                      </a:lnTo>
                      <a:lnTo>
                        <a:pt x="456247" y="308610"/>
                      </a:lnTo>
                      <a:cubicBezTo>
                        <a:pt x="476250" y="295275"/>
                        <a:pt x="491490" y="279083"/>
                        <a:pt x="503872" y="260033"/>
                      </a:cubicBezTo>
                      <a:lnTo>
                        <a:pt x="504825" y="259080"/>
                      </a:lnTo>
                      <a:lnTo>
                        <a:pt x="505778" y="257175"/>
                      </a:lnTo>
                      <a:lnTo>
                        <a:pt x="507683" y="254318"/>
                      </a:lnTo>
                      <a:lnTo>
                        <a:pt x="507683" y="253365"/>
                      </a:lnTo>
                      <a:cubicBezTo>
                        <a:pt x="520065" y="228600"/>
                        <a:pt x="528638" y="200025"/>
                        <a:pt x="528638" y="168593"/>
                      </a:cubicBezTo>
                    </a:path>
                  </a:pathLst>
                </a:custGeom>
                <a:solidFill>
                  <a:srgbClr val="BFC3C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noProof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endParaRPr>
                </a:p>
              </p:txBody>
            </p:sp>
            <p:sp>
              <p:nvSpPr>
                <p:cNvPr id="21" name="Freeform: Shape 71">
                  <a:extLst>
                    <a:ext uri="{FF2B5EF4-FFF2-40B4-BE49-F238E27FC236}">
                      <a16:creationId xmlns:a16="http://schemas.microsoft.com/office/drawing/2014/main" id="{40BF8E8B-7220-8A4F-BFC8-E26F53B7B9CD}"/>
                    </a:ext>
                  </a:extLst>
                </p:cNvPr>
                <p:cNvSpPr/>
                <p:nvPr/>
              </p:nvSpPr>
              <p:spPr>
                <a:xfrm>
                  <a:off x="5289454" y="2761696"/>
                  <a:ext cx="339089" cy="339089"/>
                </a:xfrm>
                <a:custGeom>
                  <a:avLst/>
                  <a:gdLst>
                    <a:gd name="connsiteX0" fmla="*/ 169545 w 339089"/>
                    <a:gd name="connsiteY0" fmla="*/ 339090 h 339089"/>
                    <a:gd name="connsiteX1" fmla="*/ 339090 w 339089"/>
                    <a:gd name="connsiteY1" fmla="*/ 169545 h 339089"/>
                    <a:gd name="connsiteX2" fmla="*/ 169545 w 339089"/>
                    <a:gd name="connsiteY2" fmla="*/ 0 h 339089"/>
                    <a:gd name="connsiteX3" fmla="*/ 0 w 339089"/>
                    <a:gd name="connsiteY3" fmla="*/ 169545 h 339089"/>
                    <a:gd name="connsiteX4" fmla="*/ 169545 w 339089"/>
                    <a:gd name="connsiteY4" fmla="*/ 339090 h 339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9089" h="339089">
                      <a:moveTo>
                        <a:pt x="169545" y="339090"/>
                      </a:moveTo>
                      <a:cubicBezTo>
                        <a:pt x="262890" y="339090"/>
                        <a:pt x="339090" y="262890"/>
                        <a:pt x="339090" y="169545"/>
                      </a:cubicBezTo>
                      <a:cubicBezTo>
                        <a:pt x="339090" y="76200"/>
                        <a:pt x="262890" y="0"/>
                        <a:pt x="169545" y="0"/>
                      </a:cubicBezTo>
                      <a:cubicBezTo>
                        <a:pt x="76200" y="0"/>
                        <a:pt x="0" y="76200"/>
                        <a:pt x="0" y="169545"/>
                      </a:cubicBezTo>
                      <a:cubicBezTo>
                        <a:pt x="952" y="262890"/>
                        <a:pt x="76200" y="339090"/>
                        <a:pt x="169545" y="339090"/>
                      </a:cubicBezTo>
                    </a:path>
                  </a:pathLst>
                </a:custGeom>
                <a:solidFill>
                  <a:srgbClr val="BFC3C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noProof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102335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81" r:id="rId4"/>
    <p:sldLayoutId id="2147483682" r:id="rId5"/>
    <p:sldLayoutId id="2147483650" r:id="rId6"/>
    <p:sldLayoutId id="2147483652" r:id="rId7"/>
    <p:sldLayoutId id="2147483660" r:id="rId8"/>
    <p:sldLayoutId id="2147483673" r:id="rId9"/>
    <p:sldLayoutId id="2147483687" r:id="rId10"/>
    <p:sldLayoutId id="2147483688" r:id="rId11"/>
    <p:sldLayoutId id="2147483664" r:id="rId12"/>
    <p:sldLayoutId id="2147483675" r:id="rId13"/>
    <p:sldLayoutId id="2147483679" r:id="rId14"/>
    <p:sldLayoutId id="2147483680" r:id="rId15"/>
    <p:sldLayoutId id="2147483666" r:id="rId16"/>
    <p:sldLayoutId id="2147483674" r:id="rId17"/>
    <p:sldLayoutId id="2147483663" r:id="rId18"/>
    <p:sldLayoutId id="2147483685" r:id="rId19"/>
    <p:sldLayoutId id="2147483671" r:id="rId20"/>
    <p:sldLayoutId id="2147483672" r:id="rId21"/>
    <p:sldLayoutId id="2147483684" r:id="rId22"/>
    <p:sldLayoutId id="2147483662" r:id="rId23"/>
    <p:sldLayoutId id="2147483689" r:id="rId24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300" b="1" kern="1200" cap="all" baseline="0">
          <a:solidFill>
            <a:schemeClr val="accent1"/>
          </a:solidFill>
          <a:latin typeface="Helvetica" panose="02000503040000020004" pitchFamily="2" charset="0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0"/>
        </a:spcBef>
        <a:spcAft>
          <a:spcPts val="200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2000"/>
        </a:spcAft>
        <a:buClr>
          <a:schemeClr val="accent1"/>
        </a:buClr>
        <a:buFont typeface="Open Sans" panose="020B0606030504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275" indent="-268288" algn="l" defTabSz="914400" rtl="0" eaLnBrk="1" latinLnBrk="0" hangingPunct="1">
        <a:lnSpc>
          <a:spcPct val="100000"/>
        </a:lnSpc>
        <a:spcBef>
          <a:spcPts val="0"/>
        </a:spcBef>
        <a:spcAft>
          <a:spcPts val="200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261938" algn="l" defTabSz="914400" rtl="0" eaLnBrk="1" latinLnBrk="0" hangingPunct="1">
        <a:lnSpc>
          <a:spcPct val="100000"/>
        </a:lnSpc>
        <a:spcBef>
          <a:spcPts val="0"/>
        </a:spcBef>
        <a:spcAft>
          <a:spcPts val="2000"/>
        </a:spcAft>
        <a:buClr>
          <a:schemeClr val="accent1"/>
        </a:buClr>
        <a:buFont typeface="Open Sans" panose="020B0606030504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7788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200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93" userDrawn="1">
          <p15:clr>
            <a:srgbClr val="F26B43"/>
          </p15:clr>
        </p15:guide>
        <p15:guide id="3" pos="7287" userDrawn="1">
          <p15:clr>
            <a:srgbClr val="F26B43"/>
          </p15:clr>
        </p15:guide>
        <p15:guide id="4" orient="horz" pos="232" userDrawn="1">
          <p15:clr>
            <a:srgbClr val="F26B43"/>
          </p15:clr>
        </p15:guide>
        <p15:guide id="5" orient="horz" pos="1161" userDrawn="1">
          <p15:clr>
            <a:srgbClr val="F26B43"/>
          </p15:clr>
        </p15:guide>
        <p15:guide id="6" orient="horz" pos="3894" userDrawn="1">
          <p15:clr>
            <a:srgbClr val="F26B43"/>
          </p15:clr>
        </p15:guide>
        <p15:guide id="7" orient="horz" pos="958" userDrawn="1">
          <p15:clr>
            <a:srgbClr val="F26B43"/>
          </p15:clr>
        </p15:guide>
        <p15:guide id="8" orient="horz" pos="10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8.gi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6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1.png"/><Relationship Id="rId18" Type="http://schemas.openxmlformats.org/officeDocument/2006/relationships/image" Target="../media/image56.png"/><Relationship Id="rId26" Type="http://schemas.openxmlformats.org/officeDocument/2006/relationships/image" Target="../media/image64.jpeg"/><Relationship Id="rId39" Type="http://schemas.openxmlformats.org/officeDocument/2006/relationships/image" Target="../media/image77.png"/><Relationship Id="rId21" Type="http://schemas.openxmlformats.org/officeDocument/2006/relationships/image" Target="../media/image59.svg"/><Relationship Id="rId34" Type="http://schemas.openxmlformats.org/officeDocument/2006/relationships/image" Target="../media/image72.svg"/><Relationship Id="rId7" Type="http://schemas.openxmlformats.org/officeDocument/2006/relationships/image" Target="../media/image45.png"/><Relationship Id="rId12" Type="http://schemas.openxmlformats.org/officeDocument/2006/relationships/image" Target="../media/image50.png"/><Relationship Id="rId17" Type="http://schemas.openxmlformats.org/officeDocument/2006/relationships/image" Target="../media/image55.png"/><Relationship Id="rId25" Type="http://schemas.openxmlformats.org/officeDocument/2006/relationships/image" Target="../media/image63.png"/><Relationship Id="rId33" Type="http://schemas.openxmlformats.org/officeDocument/2006/relationships/image" Target="../media/image71.png"/><Relationship Id="rId38" Type="http://schemas.openxmlformats.org/officeDocument/2006/relationships/image" Target="../media/image76.png"/><Relationship Id="rId2" Type="http://schemas.openxmlformats.org/officeDocument/2006/relationships/image" Target="../media/image40.png"/><Relationship Id="rId16" Type="http://schemas.openxmlformats.org/officeDocument/2006/relationships/image" Target="../media/image54.jpeg"/><Relationship Id="rId20" Type="http://schemas.openxmlformats.org/officeDocument/2006/relationships/image" Target="../media/image58.png"/><Relationship Id="rId29" Type="http://schemas.openxmlformats.org/officeDocument/2006/relationships/image" Target="../media/image6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4.png"/><Relationship Id="rId11" Type="http://schemas.openxmlformats.org/officeDocument/2006/relationships/image" Target="../media/image49.png"/><Relationship Id="rId24" Type="http://schemas.openxmlformats.org/officeDocument/2006/relationships/image" Target="../media/image62.png"/><Relationship Id="rId32" Type="http://schemas.openxmlformats.org/officeDocument/2006/relationships/image" Target="../media/image70.png"/><Relationship Id="rId37" Type="http://schemas.openxmlformats.org/officeDocument/2006/relationships/image" Target="../media/image75.jpeg"/><Relationship Id="rId40" Type="http://schemas.openxmlformats.org/officeDocument/2006/relationships/image" Target="../media/image78.png"/><Relationship Id="rId5" Type="http://schemas.openxmlformats.org/officeDocument/2006/relationships/image" Target="../media/image43.png"/><Relationship Id="rId15" Type="http://schemas.openxmlformats.org/officeDocument/2006/relationships/image" Target="../media/image53.png"/><Relationship Id="rId23" Type="http://schemas.openxmlformats.org/officeDocument/2006/relationships/image" Target="../media/image61.png"/><Relationship Id="rId28" Type="http://schemas.openxmlformats.org/officeDocument/2006/relationships/image" Target="../media/image66.png"/><Relationship Id="rId36" Type="http://schemas.openxmlformats.org/officeDocument/2006/relationships/image" Target="../media/image74.png"/><Relationship Id="rId10" Type="http://schemas.openxmlformats.org/officeDocument/2006/relationships/image" Target="../media/image48.png"/><Relationship Id="rId19" Type="http://schemas.openxmlformats.org/officeDocument/2006/relationships/image" Target="../media/image57.png"/><Relationship Id="rId31" Type="http://schemas.openxmlformats.org/officeDocument/2006/relationships/image" Target="../media/image69.jpeg"/><Relationship Id="rId4" Type="http://schemas.openxmlformats.org/officeDocument/2006/relationships/image" Target="../media/image42.jpeg"/><Relationship Id="rId9" Type="http://schemas.openxmlformats.org/officeDocument/2006/relationships/image" Target="../media/image47.png"/><Relationship Id="rId14" Type="http://schemas.openxmlformats.org/officeDocument/2006/relationships/image" Target="../media/image52.png"/><Relationship Id="rId22" Type="http://schemas.openxmlformats.org/officeDocument/2006/relationships/image" Target="../media/image60.png"/><Relationship Id="rId27" Type="http://schemas.openxmlformats.org/officeDocument/2006/relationships/image" Target="../media/image65.png"/><Relationship Id="rId30" Type="http://schemas.openxmlformats.org/officeDocument/2006/relationships/image" Target="../media/image68.png"/><Relationship Id="rId35" Type="http://schemas.openxmlformats.org/officeDocument/2006/relationships/image" Target="../media/image73.png"/><Relationship Id="rId8" Type="http://schemas.openxmlformats.org/officeDocument/2006/relationships/image" Target="../media/image46.jpeg"/><Relationship Id="rId3" Type="http://schemas.openxmlformats.org/officeDocument/2006/relationships/image" Target="../media/image41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7.xml"/><Relationship Id="rId6" Type="http://schemas.openxmlformats.org/officeDocument/2006/relationships/image" Target="../media/image81.png"/><Relationship Id="rId5" Type="http://schemas.openxmlformats.org/officeDocument/2006/relationships/image" Target="../media/image80.jpe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hyperlink" Target="mailto:Anna.lennquist@chemsec.org" TargetMode="Externa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8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chemsec.org/" TargetMode="External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www.instagram.com/_chemsec/" TargetMode="External"/><Relationship Id="rId5" Type="http://schemas.openxmlformats.org/officeDocument/2006/relationships/hyperlink" Target="https://twitter.com/chemsec" TargetMode="External"/><Relationship Id="rId4" Type="http://schemas.openxmlformats.org/officeDocument/2006/relationships/hyperlink" Target="https://www.linkedin.com/company/chemsec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20.png"/><Relationship Id="rId1" Type="http://schemas.openxmlformats.org/officeDocument/2006/relationships/tags" Target="../tags/tag25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image" Target="../media/image1.emf"/><Relationship Id="rId9" Type="http://schemas.openxmlformats.org/officeDocument/2006/relationships/image" Target="../media/image13.png"/><Relationship Id="rId14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latshållare för bild 6">
            <a:extLst>
              <a:ext uri="{FF2B5EF4-FFF2-40B4-BE49-F238E27FC236}">
                <a16:creationId xmlns:a16="http://schemas.microsoft.com/office/drawing/2014/main" id="{47936D73-A5CF-67E1-DF19-469729A4B71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4340506"/>
          </a:xfrm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474BBB8B-4F7F-A31F-DA6E-29C19A6C20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8" y="4524490"/>
            <a:ext cx="11350398" cy="1079384"/>
          </a:xfrm>
        </p:spPr>
        <p:txBody>
          <a:bodyPr/>
          <a:lstStyle/>
          <a:p>
            <a:r>
              <a:rPr lang="en-GB" sz="4400"/>
              <a:t>CATAlyzing the market transition </a:t>
            </a:r>
            <a:br>
              <a:rPr lang="en-GB" sz="4400"/>
            </a:br>
            <a:r>
              <a:rPr lang="en-GB" sz="4400"/>
              <a:t>away from Pfas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0FB99ADE-1896-CC95-F3EA-D45F55668D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sv-SE"/>
              <a:t>Anna Lennquist, PERFORCE3 PFAS Symposium, </a:t>
            </a:r>
            <a:r>
              <a:rPr lang="sv-SE" err="1"/>
              <a:t>Idstein</a:t>
            </a:r>
            <a:r>
              <a:rPr lang="sv-SE"/>
              <a:t>, 30 August 2023</a:t>
            </a:r>
          </a:p>
        </p:txBody>
      </p:sp>
    </p:spTree>
    <p:extLst>
      <p:ext uri="{BB962C8B-B14F-4D97-AF65-F5344CB8AC3E}">
        <p14:creationId xmlns:p14="http://schemas.microsoft.com/office/powerpoint/2010/main" val="13961297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B8A9157-F19C-F2AB-F8AF-3C5D8C50B2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44" y="1843087"/>
            <a:ext cx="4647479" cy="4333875"/>
          </a:xfrm>
        </p:spPr>
        <p:txBody>
          <a:bodyPr/>
          <a:lstStyle/>
          <a:p>
            <a:r>
              <a:rPr lang="en-GB" dirty="0"/>
              <a:t>OECD 2017: 4,730 substances</a:t>
            </a:r>
          </a:p>
          <a:p>
            <a:r>
              <a:rPr lang="en-GB" dirty="0"/>
              <a:t>PFAS restriction – 10,000 substances</a:t>
            </a:r>
          </a:p>
          <a:p>
            <a:r>
              <a:rPr lang="en-GB" dirty="0"/>
              <a:t>PubChem Tree: More than 6 million </a:t>
            </a:r>
          </a:p>
          <a:p>
            <a:r>
              <a:rPr lang="en-GB" dirty="0"/>
              <a:t>SIN List: 416 PFAS (370 new)</a:t>
            </a:r>
          </a:p>
          <a:p>
            <a:r>
              <a:rPr lang="en-GB" dirty="0"/>
              <a:t>Which substances are most likely used in processes and products?</a:t>
            </a:r>
          </a:p>
          <a:p>
            <a:r>
              <a:rPr lang="en-GB" dirty="0"/>
              <a:t>Focus on substances registered in the EU and US and manually checking for uses</a:t>
            </a:r>
          </a:p>
          <a:p>
            <a:endParaRPr lang="sv-SE" dirty="0"/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93F5A2C8-3999-3025-7046-092445E1A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PFAS ON sin list</a:t>
            </a:r>
          </a:p>
        </p:txBody>
      </p:sp>
      <p:pic>
        <p:nvPicPr>
          <p:cNvPr id="7" name="Platshållare för bild 6">
            <a:extLst>
              <a:ext uri="{FF2B5EF4-FFF2-40B4-BE49-F238E27FC236}">
                <a16:creationId xmlns:a16="http://schemas.microsoft.com/office/drawing/2014/main" id="{B1F257BC-BF48-6CE8-9FC3-002F79E75AA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2" b="-508"/>
          <a:stretch/>
        </p:blipFill>
        <p:spPr>
          <a:xfrm>
            <a:off x="5715014" y="1288499"/>
            <a:ext cx="5616000" cy="3583537"/>
          </a:xfrm>
          <a:prstGeom prst="rect">
            <a:avLst/>
          </a:prstGeom>
        </p:spPr>
      </p:pic>
      <p:pic>
        <p:nvPicPr>
          <p:cNvPr id="2" name="Bildobjekt 1">
            <a:extLst>
              <a:ext uri="{FF2B5EF4-FFF2-40B4-BE49-F238E27FC236}">
                <a16:creationId xmlns:a16="http://schemas.microsoft.com/office/drawing/2014/main" id="{E84C4929-35A4-F591-32FC-70AF192186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2409" y="6408187"/>
            <a:ext cx="5659591" cy="4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1135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B8A9157-F19C-F2AB-F8AF-3C5D8C50B2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44" y="1843087"/>
            <a:ext cx="4647479" cy="4333875"/>
          </a:xfrm>
        </p:spPr>
        <p:txBody>
          <a:bodyPr/>
          <a:lstStyle/>
          <a:p>
            <a:r>
              <a:rPr lang="en-GB" sz="2200" dirty="0"/>
              <a:t>Marketplace is a B2B platform to connect providers of safer alternatives with potential buyers</a:t>
            </a:r>
          </a:p>
          <a:p>
            <a:r>
              <a:rPr lang="en-GB" sz="2200" dirty="0"/>
              <a:t>About 100 alternatives to PFAS (out of 600 + alternatives)</a:t>
            </a:r>
          </a:p>
          <a:p>
            <a:r>
              <a:rPr lang="en-GB" sz="2200" dirty="0"/>
              <a:t>Mainly DWR, FFF, FCM</a:t>
            </a:r>
          </a:p>
          <a:p>
            <a:r>
              <a:rPr lang="en-GB" sz="2200" dirty="0"/>
              <a:t>Large and growing interest!</a:t>
            </a:r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93F5A2C8-3999-3025-7046-092445E1A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PFAS ON MARKETPLACE</a:t>
            </a:r>
          </a:p>
        </p:txBody>
      </p:sp>
      <p:pic>
        <p:nvPicPr>
          <p:cNvPr id="8" name="Platshållare för bild 7">
            <a:extLst>
              <a:ext uri="{FF2B5EF4-FFF2-40B4-BE49-F238E27FC236}">
                <a16:creationId xmlns:a16="http://schemas.microsoft.com/office/drawing/2014/main" id="{3CDE67C7-008A-967B-1E6A-A807D62C7B9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23"/>
          <a:stretch/>
        </p:blipFill>
        <p:spPr>
          <a:xfrm>
            <a:off x="5715014" y="1288499"/>
            <a:ext cx="5616000" cy="3583537"/>
          </a:xfrm>
        </p:spPr>
      </p:pic>
      <p:pic>
        <p:nvPicPr>
          <p:cNvPr id="9" name="Bildobjekt 8">
            <a:extLst>
              <a:ext uri="{FF2B5EF4-FFF2-40B4-BE49-F238E27FC236}">
                <a16:creationId xmlns:a16="http://schemas.microsoft.com/office/drawing/2014/main" id="{07F4D439-DDA9-99E2-53DE-EDFC828325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2409" y="6408187"/>
            <a:ext cx="5659591" cy="4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2005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39EB885-F903-6755-B934-A8A7F94EDB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9EB885-F903-6755-B934-A8A7F94EDB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6dad9630-523b-4022-ad56-40c7e2067559">
            <a:extLst>
              <a:ext uri="{FF2B5EF4-FFF2-40B4-BE49-F238E27FC236}">
                <a16:creationId xmlns:a16="http://schemas.microsoft.com/office/drawing/2014/main" id="{1AB97671-2866-DAF0-5C14-2749691ADFF7}"/>
              </a:ext>
            </a:extLst>
          </p:cNvPr>
          <p:cNvSpPr/>
          <p:nvPr/>
        </p:nvSpPr>
        <p:spPr>
          <a:xfrm>
            <a:off x="4667250" y="0"/>
            <a:ext cx="7524750" cy="6858000"/>
          </a:xfrm>
          <a:prstGeom prst="rect">
            <a:avLst/>
          </a:prstGeom>
          <a:solidFill>
            <a:srgbClr val="5C47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TextBox 5">
            <a:extLst>
              <a:ext uri="{FF2B5EF4-FFF2-40B4-BE49-F238E27FC236}">
                <a16:creationId xmlns:a16="http://schemas.microsoft.com/office/drawing/2014/main" id="{7EA1F1F4-EFDC-9E3B-1DDF-893C5E2741C5}"/>
              </a:ext>
            </a:extLst>
          </p:cNvPr>
          <p:cNvSpPr txBox="1"/>
          <p:nvPr/>
        </p:nvSpPr>
        <p:spPr>
          <a:xfrm>
            <a:off x="619792" y="2946990"/>
            <a:ext cx="3888834" cy="267765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1200" cap="none" baseline="0" dirty="0">
                <a:latin typeface="+mn-lt"/>
                <a:ea typeface="+mn-ea"/>
                <a:cs typeface="+mn-cs"/>
              </a:rPr>
              <a:t>ChemScore ranks the world’s largest chemical producers on their efforts to reduce their chemical footprin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1200" cap="none" baseline="0" dirty="0">
                <a:latin typeface="+mn-lt"/>
                <a:ea typeface="+mn-ea"/>
                <a:cs typeface="+mn-cs"/>
              </a:rPr>
              <a:t>PFAS production in focus.</a:t>
            </a:r>
          </a:p>
        </p:txBody>
      </p:sp>
      <p:sp>
        <p:nvSpPr>
          <p:cNvPr id="4" name="ea4a902b-cd7a-4447-8743-919af7158fb8">
            <a:extLst>
              <a:ext uri="{FF2B5EF4-FFF2-40B4-BE49-F238E27FC236}">
                <a16:creationId xmlns:a16="http://schemas.microsoft.com/office/drawing/2014/main" id="{574890E2-0779-AEA5-23D0-6271DFCAEB1B}"/>
              </a:ext>
            </a:extLst>
          </p:cNvPr>
          <p:cNvSpPr/>
          <p:nvPr/>
        </p:nvSpPr>
        <p:spPr>
          <a:xfrm>
            <a:off x="5128625" y="838785"/>
            <a:ext cx="6654276" cy="5180430"/>
          </a:xfrm>
          <a:custGeom>
            <a:avLst/>
            <a:gdLst/>
            <a:ahLst/>
            <a:cxnLst/>
            <a:rect l="l" t="t" r="r" b="b"/>
            <a:pathLst>
              <a:path w="143434" h="111665" extrusionOk="0">
                <a:moveTo>
                  <a:pt x="71751" y="2308"/>
                </a:moveTo>
                <a:lnTo>
                  <a:pt x="71887" y="2376"/>
                </a:lnTo>
                <a:lnTo>
                  <a:pt x="72091" y="2444"/>
                </a:lnTo>
                <a:lnTo>
                  <a:pt x="72159" y="2647"/>
                </a:lnTo>
                <a:lnTo>
                  <a:pt x="72226" y="2783"/>
                </a:lnTo>
                <a:lnTo>
                  <a:pt x="72159" y="2987"/>
                </a:lnTo>
                <a:lnTo>
                  <a:pt x="72091" y="3190"/>
                </a:lnTo>
                <a:lnTo>
                  <a:pt x="71887" y="3258"/>
                </a:lnTo>
                <a:lnTo>
                  <a:pt x="71751" y="3326"/>
                </a:lnTo>
                <a:lnTo>
                  <a:pt x="71548" y="3258"/>
                </a:lnTo>
                <a:lnTo>
                  <a:pt x="71344" y="3190"/>
                </a:lnTo>
                <a:lnTo>
                  <a:pt x="71276" y="2987"/>
                </a:lnTo>
                <a:lnTo>
                  <a:pt x="71208" y="2783"/>
                </a:lnTo>
                <a:lnTo>
                  <a:pt x="71276" y="2647"/>
                </a:lnTo>
                <a:lnTo>
                  <a:pt x="71344" y="2444"/>
                </a:lnTo>
                <a:lnTo>
                  <a:pt x="71548" y="2376"/>
                </a:lnTo>
                <a:lnTo>
                  <a:pt x="71751" y="2308"/>
                </a:lnTo>
                <a:close/>
                <a:moveTo>
                  <a:pt x="137528" y="5906"/>
                </a:moveTo>
                <a:lnTo>
                  <a:pt x="137596" y="5974"/>
                </a:lnTo>
                <a:lnTo>
                  <a:pt x="137596" y="89604"/>
                </a:lnTo>
                <a:lnTo>
                  <a:pt x="5906" y="89604"/>
                </a:lnTo>
                <a:lnTo>
                  <a:pt x="5906" y="5974"/>
                </a:lnTo>
                <a:lnTo>
                  <a:pt x="5906" y="5906"/>
                </a:lnTo>
                <a:close/>
                <a:moveTo>
                  <a:pt x="3530" y="0"/>
                </a:moveTo>
                <a:lnTo>
                  <a:pt x="3191" y="68"/>
                </a:lnTo>
                <a:lnTo>
                  <a:pt x="2444" y="339"/>
                </a:lnTo>
                <a:lnTo>
                  <a:pt x="1766" y="679"/>
                </a:lnTo>
                <a:lnTo>
                  <a:pt x="1155" y="1154"/>
                </a:lnTo>
                <a:lnTo>
                  <a:pt x="679" y="1765"/>
                </a:lnTo>
                <a:lnTo>
                  <a:pt x="272" y="2444"/>
                </a:lnTo>
                <a:lnTo>
                  <a:pt x="69" y="3190"/>
                </a:lnTo>
                <a:lnTo>
                  <a:pt x="1" y="3598"/>
                </a:lnTo>
                <a:lnTo>
                  <a:pt x="1" y="4005"/>
                </a:lnTo>
                <a:lnTo>
                  <a:pt x="1" y="91572"/>
                </a:lnTo>
                <a:lnTo>
                  <a:pt x="1" y="91979"/>
                </a:lnTo>
                <a:lnTo>
                  <a:pt x="69" y="92319"/>
                </a:lnTo>
                <a:lnTo>
                  <a:pt x="272" y="93065"/>
                </a:lnTo>
                <a:lnTo>
                  <a:pt x="679" y="93744"/>
                </a:lnTo>
                <a:lnTo>
                  <a:pt x="1155" y="94355"/>
                </a:lnTo>
                <a:lnTo>
                  <a:pt x="1766" y="94830"/>
                </a:lnTo>
                <a:lnTo>
                  <a:pt x="2444" y="95238"/>
                </a:lnTo>
                <a:lnTo>
                  <a:pt x="3191" y="95441"/>
                </a:lnTo>
                <a:lnTo>
                  <a:pt x="3530" y="95509"/>
                </a:lnTo>
                <a:lnTo>
                  <a:pt x="139904" y="95509"/>
                </a:lnTo>
                <a:lnTo>
                  <a:pt x="140311" y="95441"/>
                </a:lnTo>
                <a:lnTo>
                  <a:pt x="141058" y="95238"/>
                </a:lnTo>
                <a:lnTo>
                  <a:pt x="141737" y="94830"/>
                </a:lnTo>
                <a:lnTo>
                  <a:pt x="142280" y="94355"/>
                </a:lnTo>
                <a:lnTo>
                  <a:pt x="142755" y="93744"/>
                </a:lnTo>
                <a:lnTo>
                  <a:pt x="143162" y="93065"/>
                </a:lnTo>
                <a:lnTo>
                  <a:pt x="143366" y="92319"/>
                </a:lnTo>
                <a:lnTo>
                  <a:pt x="143434" y="91979"/>
                </a:lnTo>
                <a:lnTo>
                  <a:pt x="143434" y="91572"/>
                </a:lnTo>
                <a:lnTo>
                  <a:pt x="143434" y="4005"/>
                </a:lnTo>
                <a:lnTo>
                  <a:pt x="143434" y="3598"/>
                </a:lnTo>
                <a:lnTo>
                  <a:pt x="143366" y="3190"/>
                </a:lnTo>
                <a:lnTo>
                  <a:pt x="143162" y="2444"/>
                </a:lnTo>
                <a:lnTo>
                  <a:pt x="142755" y="1765"/>
                </a:lnTo>
                <a:lnTo>
                  <a:pt x="142280" y="1154"/>
                </a:lnTo>
                <a:lnTo>
                  <a:pt x="141737" y="679"/>
                </a:lnTo>
                <a:lnTo>
                  <a:pt x="141058" y="339"/>
                </a:lnTo>
                <a:lnTo>
                  <a:pt x="140311" y="68"/>
                </a:lnTo>
                <a:lnTo>
                  <a:pt x="139904" y="0"/>
                </a:lnTo>
                <a:close/>
                <a:moveTo>
                  <a:pt x="55324" y="95713"/>
                </a:moveTo>
                <a:lnTo>
                  <a:pt x="55052" y="98971"/>
                </a:lnTo>
                <a:lnTo>
                  <a:pt x="54713" y="102297"/>
                </a:lnTo>
                <a:lnTo>
                  <a:pt x="54374" y="105284"/>
                </a:lnTo>
                <a:lnTo>
                  <a:pt x="53966" y="107388"/>
                </a:lnTo>
                <a:lnTo>
                  <a:pt x="53763" y="108203"/>
                </a:lnTo>
                <a:lnTo>
                  <a:pt x="53627" y="108746"/>
                </a:lnTo>
                <a:lnTo>
                  <a:pt x="53423" y="109153"/>
                </a:lnTo>
                <a:lnTo>
                  <a:pt x="53220" y="109357"/>
                </a:lnTo>
                <a:lnTo>
                  <a:pt x="52677" y="109493"/>
                </a:lnTo>
                <a:lnTo>
                  <a:pt x="51794" y="109696"/>
                </a:lnTo>
                <a:lnTo>
                  <a:pt x="49690" y="110036"/>
                </a:lnTo>
                <a:lnTo>
                  <a:pt x="48061" y="110307"/>
                </a:lnTo>
                <a:lnTo>
                  <a:pt x="47450" y="110443"/>
                </a:lnTo>
                <a:lnTo>
                  <a:pt x="47110" y="110511"/>
                </a:lnTo>
                <a:lnTo>
                  <a:pt x="47042" y="110579"/>
                </a:lnTo>
                <a:lnTo>
                  <a:pt x="47042" y="110783"/>
                </a:lnTo>
                <a:lnTo>
                  <a:pt x="47110" y="110850"/>
                </a:lnTo>
                <a:lnTo>
                  <a:pt x="47585" y="110918"/>
                </a:lnTo>
                <a:lnTo>
                  <a:pt x="48400" y="110986"/>
                </a:lnTo>
                <a:lnTo>
                  <a:pt x="51387" y="111054"/>
                </a:lnTo>
                <a:lnTo>
                  <a:pt x="56071" y="111122"/>
                </a:lnTo>
                <a:lnTo>
                  <a:pt x="87092" y="111122"/>
                </a:lnTo>
                <a:lnTo>
                  <a:pt x="91708" y="111054"/>
                </a:lnTo>
                <a:lnTo>
                  <a:pt x="94695" y="110986"/>
                </a:lnTo>
                <a:lnTo>
                  <a:pt x="95578" y="110918"/>
                </a:lnTo>
                <a:lnTo>
                  <a:pt x="96053" y="110850"/>
                </a:lnTo>
                <a:lnTo>
                  <a:pt x="96121" y="110783"/>
                </a:lnTo>
                <a:lnTo>
                  <a:pt x="96121" y="110579"/>
                </a:lnTo>
                <a:lnTo>
                  <a:pt x="96053" y="110511"/>
                </a:lnTo>
                <a:lnTo>
                  <a:pt x="95713" y="110443"/>
                </a:lnTo>
                <a:lnTo>
                  <a:pt x="95102" y="110307"/>
                </a:lnTo>
                <a:lnTo>
                  <a:pt x="93473" y="110036"/>
                </a:lnTo>
                <a:lnTo>
                  <a:pt x="91369" y="109696"/>
                </a:lnTo>
                <a:lnTo>
                  <a:pt x="90487" y="109493"/>
                </a:lnTo>
                <a:lnTo>
                  <a:pt x="89943" y="109357"/>
                </a:lnTo>
                <a:lnTo>
                  <a:pt x="89740" y="109153"/>
                </a:lnTo>
                <a:lnTo>
                  <a:pt x="89536" y="108746"/>
                </a:lnTo>
                <a:lnTo>
                  <a:pt x="89333" y="108203"/>
                </a:lnTo>
                <a:lnTo>
                  <a:pt x="89197" y="107388"/>
                </a:lnTo>
                <a:lnTo>
                  <a:pt x="88789" y="105284"/>
                </a:lnTo>
                <a:lnTo>
                  <a:pt x="88382" y="102297"/>
                </a:lnTo>
                <a:lnTo>
                  <a:pt x="88043" y="98971"/>
                </a:lnTo>
                <a:lnTo>
                  <a:pt x="87839" y="95713"/>
                </a:lnTo>
                <a:close/>
                <a:moveTo>
                  <a:pt x="47450" y="111054"/>
                </a:moveTo>
                <a:lnTo>
                  <a:pt x="47450" y="111122"/>
                </a:lnTo>
                <a:lnTo>
                  <a:pt x="47450" y="111393"/>
                </a:lnTo>
                <a:lnTo>
                  <a:pt x="47518" y="111461"/>
                </a:lnTo>
                <a:lnTo>
                  <a:pt x="48807" y="111529"/>
                </a:lnTo>
                <a:lnTo>
                  <a:pt x="52473" y="111597"/>
                </a:lnTo>
                <a:lnTo>
                  <a:pt x="62384" y="111665"/>
                </a:lnTo>
                <a:lnTo>
                  <a:pt x="80779" y="111665"/>
                </a:lnTo>
                <a:lnTo>
                  <a:pt x="90622" y="111597"/>
                </a:lnTo>
                <a:lnTo>
                  <a:pt x="94356" y="111529"/>
                </a:lnTo>
                <a:lnTo>
                  <a:pt x="95646" y="111461"/>
                </a:lnTo>
                <a:lnTo>
                  <a:pt x="95713" y="111393"/>
                </a:lnTo>
                <a:lnTo>
                  <a:pt x="95713" y="111122"/>
                </a:lnTo>
                <a:lnTo>
                  <a:pt x="95646" y="111054"/>
                </a:lnTo>
                <a:lnTo>
                  <a:pt x="94084" y="111122"/>
                </a:lnTo>
                <a:lnTo>
                  <a:pt x="91233" y="111190"/>
                </a:lnTo>
                <a:lnTo>
                  <a:pt x="80847" y="111258"/>
                </a:lnTo>
                <a:lnTo>
                  <a:pt x="62316" y="111258"/>
                </a:lnTo>
                <a:lnTo>
                  <a:pt x="51930" y="111190"/>
                </a:lnTo>
                <a:lnTo>
                  <a:pt x="49079" y="111122"/>
                </a:lnTo>
                <a:lnTo>
                  <a:pt x="47518" y="11105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02117b27-c9fe-42d0-a82e-470a57d356e5">
            <a:extLst>
              <a:ext uri="{FF2B5EF4-FFF2-40B4-BE49-F238E27FC236}">
                <a16:creationId xmlns:a16="http://schemas.microsoft.com/office/drawing/2014/main" id="{F1FA2B26-0343-E19C-0746-80C00276717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3516" y="1123280"/>
            <a:ext cx="6115050" cy="3886199"/>
          </a:xfrm>
          <a:prstGeom prst="rect">
            <a:avLst/>
          </a:prstGeom>
        </p:spPr>
      </p:pic>
      <p:pic>
        <p:nvPicPr>
          <p:cNvPr id="6" name="97b7ed01-d618-4681-8ba5-9b3001949416">
            <a:extLst>
              <a:ext uri="{FF2B5EF4-FFF2-40B4-BE49-F238E27FC236}">
                <a16:creationId xmlns:a16="http://schemas.microsoft.com/office/drawing/2014/main" id="{49F563B9-4F4B-A03F-B62A-D8DC72A6F4E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4392" y="1800840"/>
            <a:ext cx="3091008" cy="888665"/>
          </a:xfrm>
          <a:prstGeom prst="rect">
            <a:avLst/>
          </a:prstGeom>
        </p:spPr>
      </p:pic>
      <p:pic>
        <p:nvPicPr>
          <p:cNvPr id="7" name="Picture 14">
            <a:extLst>
              <a:ext uri="{FF2B5EF4-FFF2-40B4-BE49-F238E27FC236}">
                <a16:creationId xmlns:a16="http://schemas.microsoft.com/office/drawing/2014/main" id="{6C0FA895-B294-4BB1-3344-0E3E2DDF036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910" b="3910"/>
          <a:stretch/>
        </p:blipFill>
        <p:spPr>
          <a:xfrm>
            <a:off x="8872315" y="1657772"/>
            <a:ext cx="2601698" cy="3287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7719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92C6FB-337B-B1DD-06C2-ED5C473B5E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latshållare för bild 8">
            <a:extLst>
              <a:ext uri="{FF2B5EF4-FFF2-40B4-BE49-F238E27FC236}">
                <a16:creationId xmlns:a16="http://schemas.microsoft.com/office/drawing/2014/main" id="{DC1ED402-2996-D579-040C-CD9752D3822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</p:spPr>
      </p:pic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17309BB6-4FB7-8FDF-DBBD-3F382E78E2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48081" y="1623393"/>
            <a:ext cx="5120032" cy="4333875"/>
          </a:xfrm>
        </p:spPr>
        <p:txBody>
          <a:bodyPr/>
          <a:lstStyle/>
          <a:p>
            <a:r>
              <a:rPr lang="en-GB" sz="2400" dirty="0"/>
              <a:t>Incorporates information from scientific publications, reports and information from individual companies</a:t>
            </a:r>
          </a:p>
          <a:p>
            <a:r>
              <a:rPr lang="en-GB" sz="2400" dirty="0"/>
              <a:t>Links to the SIN List and Marketplace</a:t>
            </a:r>
          </a:p>
          <a:p>
            <a:r>
              <a:rPr lang="en-GB" sz="2400" dirty="0"/>
              <a:t>Links to reports on alternatives</a:t>
            </a:r>
          </a:p>
          <a:p>
            <a:r>
              <a:rPr lang="en-GB" sz="2400" dirty="0"/>
              <a:t>Let it be a growing source of information!</a:t>
            </a:r>
          </a:p>
          <a:p>
            <a:r>
              <a:rPr lang="en-GB" sz="2400" dirty="0" err="1"/>
              <a:t>pfasguide@chemsec.org</a:t>
            </a:r>
            <a:endParaRPr lang="en-GB" sz="2400" dirty="0"/>
          </a:p>
        </p:txBody>
      </p:sp>
      <p:sp>
        <p:nvSpPr>
          <p:cNvPr id="5" name="Rubrik 4">
            <a:extLst>
              <a:ext uri="{FF2B5EF4-FFF2-40B4-BE49-F238E27FC236}">
                <a16:creationId xmlns:a16="http://schemas.microsoft.com/office/drawing/2014/main" id="{C22F06C1-0E6E-AA54-7060-963F0E4BD2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atabase part</a:t>
            </a:r>
            <a:br>
              <a:rPr lang="en-GB"/>
            </a:b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34506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2183D3DD-F3E8-33BB-BDD7-B2040860F177}"/>
              </a:ext>
            </a:extLst>
          </p:cNvPr>
          <p:cNvSpPr/>
          <p:nvPr/>
        </p:nvSpPr>
        <p:spPr>
          <a:xfrm>
            <a:off x="0" y="1354225"/>
            <a:ext cx="12192000" cy="5503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8E0FFFDA-2155-0F80-4F90-ACE9F9C012B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120" y="1806275"/>
            <a:ext cx="648619" cy="40690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7DD3058E-2449-467D-4672-576E157EAD0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3761" y="5274000"/>
            <a:ext cx="1919225" cy="1919225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F68DCB72-86AD-F64D-E183-CE5102A9B5B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5674" y="5129078"/>
            <a:ext cx="877957" cy="406907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C2C4331F-F3CD-4DBD-1BAD-244E7876571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048" y="2318734"/>
            <a:ext cx="1062667" cy="1062667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15E10A98-C6A6-0C80-F7B5-55B28631571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543" y="5274022"/>
            <a:ext cx="869150" cy="168398"/>
          </a:xfrm>
          <a:prstGeom prst="rect">
            <a:avLst/>
          </a:prstGeom>
        </p:spPr>
      </p:pic>
      <p:pic>
        <p:nvPicPr>
          <p:cNvPr id="9" name="Bildobjekt 8">
            <a:extLst>
              <a:ext uri="{FF2B5EF4-FFF2-40B4-BE49-F238E27FC236}">
                <a16:creationId xmlns:a16="http://schemas.microsoft.com/office/drawing/2014/main" id="{47D2E289-5AD5-E09B-0A5E-4E44A756B27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219" y="5857453"/>
            <a:ext cx="1012379" cy="562433"/>
          </a:xfrm>
          <a:prstGeom prst="rect">
            <a:avLst/>
          </a:prstGeom>
        </p:spPr>
      </p:pic>
      <p:pic>
        <p:nvPicPr>
          <p:cNvPr id="10" name="Bildobjekt 9">
            <a:extLst>
              <a:ext uri="{FF2B5EF4-FFF2-40B4-BE49-F238E27FC236}">
                <a16:creationId xmlns:a16="http://schemas.microsoft.com/office/drawing/2014/main" id="{04AB699D-4586-03DB-AC85-AD6BA0E1E103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713" y="4114174"/>
            <a:ext cx="1333374" cy="744815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1AE34868-B746-18DF-9B32-4AB66815421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5870" y="4121394"/>
            <a:ext cx="1221593" cy="678663"/>
          </a:xfrm>
          <a:prstGeom prst="rect">
            <a:avLst/>
          </a:prstGeom>
        </p:spPr>
      </p:pic>
      <p:pic>
        <p:nvPicPr>
          <p:cNvPr id="12" name="Bildobjekt 11">
            <a:extLst>
              <a:ext uri="{FF2B5EF4-FFF2-40B4-BE49-F238E27FC236}">
                <a16:creationId xmlns:a16="http://schemas.microsoft.com/office/drawing/2014/main" id="{D2145D98-A0B2-AD76-45CA-9C9B56247B66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5056" y="4079929"/>
            <a:ext cx="1471252" cy="817363"/>
          </a:xfrm>
          <a:prstGeom prst="rect">
            <a:avLst/>
          </a:prstGeom>
        </p:spPr>
      </p:pic>
      <p:pic>
        <p:nvPicPr>
          <p:cNvPr id="13" name="Bildobjekt 12">
            <a:extLst>
              <a:ext uri="{FF2B5EF4-FFF2-40B4-BE49-F238E27FC236}">
                <a16:creationId xmlns:a16="http://schemas.microsoft.com/office/drawing/2014/main" id="{95B26769-A38A-F9AB-C3B6-68F734F3F7B0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72683" y="2674900"/>
            <a:ext cx="1221593" cy="228094"/>
          </a:xfrm>
          <a:prstGeom prst="rect">
            <a:avLst/>
          </a:prstGeom>
        </p:spPr>
      </p:pic>
      <p:pic>
        <p:nvPicPr>
          <p:cNvPr id="14" name="Bildobjekt 13">
            <a:extLst>
              <a:ext uri="{FF2B5EF4-FFF2-40B4-BE49-F238E27FC236}">
                <a16:creationId xmlns:a16="http://schemas.microsoft.com/office/drawing/2014/main" id="{BE076887-E22F-AFA8-3774-BAFF6D7AF55B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7779" y="5255037"/>
            <a:ext cx="1172470" cy="196023"/>
          </a:xfrm>
          <a:prstGeom prst="rect">
            <a:avLst/>
          </a:prstGeom>
        </p:spPr>
      </p:pic>
      <p:pic>
        <p:nvPicPr>
          <p:cNvPr id="15" name="Bildobjekt 14">
            <a:extLst>
              <a:ext uri="{FF2B5EF4-FFF2-40B4-BE49-F238E27FC236}">
                <a16:creationId xmlns:a16="http://schemas.microsoft.com/office/drawing/2014/main" id="{82B07EC0-77C7-DF4D-D0DB-1AF4A42E5E5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9401" y="1777138"/>
            <a:ext cx="993978" cy="465182"/>
          </a:xfrm>
          <a:prstGeom prst="rect">
            <a:avLst/>
          </a:prstGeom>
        </p:spPr>
      </p:pic>
      <p:pic>
        <p:nvPicPr>
          <p:cNvPr id="16" name="Bildobjekt 15">
            <a:extLst>
              <a:ext uri="{FF2B5EF4-FFF2-40B4-BE49-F238E27FC236}">
                <a16:creationId xmlns:a16="http://schemas.microsoft.com/office/drawing/2014/main" id="{A6911454-D304-EA1A-E232-BD64C13E64D6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6202" y="6053162"/>
            <a:ext cx="965086" cy="305218"/>
          </a:xfrm>
          <a:prstGeom prst="rect">
            <a:avLst/>
          </a:prstGeom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id="{4ACDC242-62AD-F5FD-8B61-63B67D475946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0588" y="5199946"/>
            <a:ext cx="940628" cy="305584"/>
          </a:xfrm>
          <a:prstGeom prst="rect">
            <a:avLst/>
          </a:prstGeom>
        </p:spPr>
      </p:pic>
      <p:pic>
        <p:nvPicPr>
          <p:cNvPr id="18" name="Bildobjekt 17">
            <a:extLst>
              <a:ext uri="{FF2B5EF4-FFF2-40B4-BE49-F238E27FC236}">
                <a16:creationId xmlns:a16="http://schemas.microsoft.com/office/drawing/2014/main" id="{F9432D4E-1FDB-4D06-0A11-3ABA378192AA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0127" y="5130930"/>
            <a:ext cx="1105721" cy="372393"/>
          </a:xfrm>
          <a:prstGeom prst="rect">
            <a:avLst/>
          </a:prstGeom>
        </p:spPr>
      </p:pic>
      <p:pic>
        <p:nvPicPr>
          <p:cNvPr id="19" name="Bildobjekt 18">
            <a:extLst>
              <a:ext uri="{FF2B5EF4-FFF2-40B4-BE49-F238E27FC236}">
                <a16:creationId xmlns:a16="http://schemas.microsoft.com/office/drawing/2014/main" id="{E825EAE6-B0DA-5A43-C3E0-2B9166098CDA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8665" y="1876790"/>
            <a:ext cx="1423979" cy="275896"/>
          </a:xfrm>
          <a:prstGeom prst="rect">
            <a:avLst/>
          </a:prstGeom>
        </p:spPr>
      </p:pic>
      <p:pic>
        <p:nvPicPr>
          <p:cNvPr id="20" name="Bildobjekt 19">
            <a:extLst>
              <a:ext uri="{FF2B5EF4-FFF2-40B4-BE49-F238E27FC236}">
                <a16:creationId xmlns:a16="http://schemas.microsoft.com/office/drawing/2014/main" id="{AF691762-12AA-4955-5036-B98EA0C4F8C0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5940" y="6098436"/>
            <a:ext cx="1471252" cy="259958"/>
          </a:xfrm>
          <a:prstGeom prst="rect">
            <a:avLst/>
          </a:prstGeom>
        </p:spPr>
      </p:pic>
      <p:pic>
        <p:nvPicPr>
          <p:cNvPr id="21" name="Bildobjekt 20">
            <a:extLst>
              <a:ext uri="{FF2B5EF4-FFF2-40B4-BE49-F238E27FC236}">
                <a16:creationId xmlns:a16="http://schemas.microsoft.com/office/drawing/2014/main" id="{F1F7E050-3F6B-5C58-C1F7-D1D9A00B140F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2599" y="2684309"/>
            <a:ext cx="996785" cy="208702"/>
          </a:xfrm>
          <a:prstGeom prst="rect">
            <a:avLst/>
          </a:prstGeom>
        </p:spPr>
      </p:pic>
      <p:pic>
        <p:nvPicPr>
          <p:cNvPr id="22" name="Bild 21">
            <a:extLst>
              <a:ext uri="{FF2B5EF4-FFF2-40B4-BE49-F238E27FC236}">
                <a16:creationId xmlns:a16="http://schemas.microsoft.com/office/drawing/2014/main" id="{C134EF9E-9D0E-AA5F-136D-8351D8CFF310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8011040" y="2410503"/>
            <a:ext cx="1512625" cy="756313"/>
          </a:xfrm>
          <a:prstGeom prst="rect">
            <a:avLst/>
          </a:prstGeom>
        </p:spPr>
      </p:pic>
      <p:pic>
        <p:nvPicPr>
          <p:cNvPr id="23" name="Bildobjekt 22">
            <a:extLst>
              <a:ext uri="{FF2B5EF4-FFF2-40B4-BE49-F238E27FC236}">
                <a16:creationId xmlns:a16="http://schemas.microsoft.com/office/drawing/2014/main" id="{52F8A2C7-0246-7F67-9BF6-BD26D273A43D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7028" y="6000837"/>
            <a:ext cx="1410949" cy="315259"/>
          </a:xfrm>
          <a:prstGeom prst="rect">
            <a:avLst/>
          </a:prstGeom>
        </p:spPr>
      </p:pic>
      <p:pic>
        <p:nvPicPr>
          <p:cNvPr id="24" name="Bildobjekt 23">
            <a:extLst>
              <a:ext uri="{FF2B5EF4-FFF2-40B4-BE49-F238E27FC236}">
                <a16:creationId xmlns:a16="http://schemas.microsoft.com/office/drawing/2014/main" id="{7D35A9B8-17BA-6B8B-B4E5-703D298EC712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5155" y="6000837"/>
            <a:ext cx="1177557" cy="313230"/>
          </a:xfrm>
          <a:prstGeom prst="rect">
            <a:avLst/>
          </a:prstGeom>
        </p:spPr>
      </p:pic>
      <p:pic>
        <p:nvPicPr>
          <p:cNvPr id="25" name="Bildobjekt 24">
            <a:extLst>
              <a:ext uri="{FF2B5EF4-FFF2-40B4-BE49-F238E27FC236}">
                <a16:creationId xmlns:a16="http://schemas.microsoft.com/office/drawing/2014/main" id="{ECBFDCD3-61D1-0963-1C95-715A599A941A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0313" y="2524180"/>
            <a:ext cx="1316377" cy="489295"/>
          </a:xfrm>
          <a:prstGeom prst="rect">
            <a:avLst/>
          </a:prstGeom>
        </p:spPr>
      </p:pic>
      <p:pic>
        <p:nvPicPr>
          <p:cNvPr id="26" name="Bildobjekt 25">
            <a:extLst>
              <a:ext uri="{FF2B5EF4-FFF2-40B4-BE49-F238E27FC236}">
                <a16:creationId xmlns:a16="http://schemas.microsoft.com/office/drawing/2014/main" id="{02887F3F-403D-E332-A8BE-D64EFA972F5F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995" y="3388388"/>
            <a:ext cx="1622319" cy="453108"/>
          </a:xfrm>
          <a:prstGeom prst="rect">
            <a:avLst/>
          </a:prstGeom>
        </p:spPr>
      </p:pic>
      <p:pic>
        <p:nvPicPr>
          <p:cNvPr id="27" name="Bildobjekt 26">
            <a:extLst>
              <a:ext uri="{FF2B5EF4-FFF2-40B4-BE49-F238E27FC236}">
                <a16:creationId xmlns:a16="http://schemas.microsoft.com/office/drawing/2014/main" id="{BC626F49-F692-9B54-AF1B-50F048BCD8AB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0204" y="1715401"/>
            <a:ext cx="1440750" cy="720375"/>
          </a:xfrm>
          <a:prstGeom prst="rect">
            <a:avLst/>
          </a:prstGeom>
        </p:spPr>
      </p:pic>
      <p:pic>
        <p:nvPicPr>
          <p:cNvPr id="28" name="Bildobjekt 27">
            <a:extLst>
              <a:ext uri="{FF2B5EF4-FFF2-40B4-BE49-F238E27FC236}">
                <a16:creationId xmlns:a16="http://schemas.microsoft.com/office/drawing/2014/main" id="{DB5DFCD9-0738-2F95-91C8-04ADC8D13028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16870" y="3423951"/>
            <a:ext cx="1204454" cy="336870"/>
          </a:xfrm>
          <a:prstGeom prst="rect">
            <a:avLst/>
          </a:prstGeom>
        </p:spPr>
      </p:pic>
      <p:pic>
        <p:nvPicPr>
          <p:cNvPr id="29" name="Bildobjekt 28">
            <a:extLst>
              <a:ext uri="{FF2B5EF4-FFF2-40B4-BE49-F238E27FC236}">
                <a16:creationId xmlns:a16="http://schemas.microsoft.com/office/drawing/2014/main" id="{8329EB31-4820-9618-AF59-6E0DB5854AF3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16870" y="4371071"/>
            <a:ext cx="1135391" cy="288283"/>
          </a:xfrm>
          <a:prstGeom prst="rect">
            <a:avLst/>
          </a:prstGeom>
        </p:spPr>
      </p:pic>
      <p:pic>
        <p:nvPicPr>
          <p:cNvPr id="30" name="Bildobjekt 29">
            <a:extLst>
              <a:ext uri="{FF2B5EF4-FFF2-40B4-BE49-F238E27FC236}">
                <a16:creationId xmlns:a16="http://schemas.microsoft.com/office/drawing/2014/main" id="{61A064AE-C9FD-5CF7-60DB-B0A76F15C98F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4723" y="5166542"/>
            <a:ext cx="874455" cy="344317"/>
          </a:xfrm>
          <a:prstGeom prst="rect">
            <a:avLst/>
          </a:prstGeom>
        </p:spPr>
      </p:pic>
      <p:pic>
        <p:nvPicPr>
          <p:cNvPr id="31" name="Bildobjekt 30">
            <a:extLst>
              <a:ext uri="{FF2B5EF4-FFF2-40B4-BE49-F238E27FC236}">
                <a16:creationId xmlns:a16="http://schemas.microsoft.com/office/drawing/2014/main" id="{74650779-571F-EB07-6445-4AD7382DBAC5}"/>
              </a:ext>
            </a:extLst>
          </p:cNvPr>
          <p:cNvPicPr>
            <a:picLocks noChangeAspect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9160" y="1786189"/>
            <a:ext cx="974586" cy="381123"/>
          </a:xfrm>
          <a:prstGeom prst="rect">
            <a:avLst/>
          </a:prstGeom>
        </p:spPr>
      </p:pic>
      <p:pic>
        <p:nvPicPr>
          <p:cNvPr id="32" name="Bildobjekt 31">
            <a:extLst>
              <a:ext uri="{FF2B5EF4-FFF2-40B4-BE49-F238E27FC236}">
                <a16:creationId xmlns:a16="http://schemas.microsoft.com/office/drawing/2014/main" id="{ED3264EC-6419-001D-A9CB-6F342B535767}"/>
              </a:ext>
            </a:extLst>
          </p:cNvPr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8487" y="1871781"/>
            <a:ext cx="689740" cy="275896"/>
          </a:xfrm>
          <a:prstGeom prst="rect">
            <a:avLst/>
          </a:prstGeom>
        </p:spPr>
      </p:pic>
      <p:pic>
        <p:nvPicPr>
          <p:cNvPr id="33" name="Bildobjekt 32">
            <a:extLst>
              <a:ext uri="{FF2B5EF4-FFF2-40B4-BE49-F238E27FC236}">
                <a16:creationId xmlns:a16="http://schemas.microsoft.com/office/drawing/2014/main" id="{5C930894-CCB1-4E29-6899-3455A22C12FE}"/>
              </a:ext>
            </a:extLst>
          </p:cNvPr>
          <p:cNvPicPr>
            <a:picLocks noChangeAspect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9513" y="2624683"/>
            <a:ext cx="1236335" cy="316846"/>
          </a:xfrm>
          <a:prstGeom prst="rect">
            <a:avLst/>
          </a:prstGeom>
        </p:spPr>
      </p:pic>
      <p:pic>
        <p:nvPicPr>
          <p:cNvPr id="34" name="Bild 33">
            <a:extLst>
              <a:ext uri="{FF2B5EF4-FFF2-40B4-BE49-F238E27FC236}">
                <a16:creationId xmlns:a16="http://schemas.microsoft.com/office/drawing/2014/main" id="{E4FA524C-C4CE-5D72-0D44-A6B01CC3356C}"/>
              </a:ext>
            </a:extLst>
          </p:cNvPr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9119589" y="1915670"/>
            <a:ext cx="1153732" cy="193889"/>
          </a:xfrm>
          <a:prstGeom prst="rect">
            <a:avLst/>
          </a:prstGeom>
        </p:spPr>
      </p:pic>
      <p:pic>
        <p:nvPicPr>
          <p:cNvPr id="35" name="Bildobjekt 34">
            <a:extLst>
              <a:ext uri="{FF2B5EF4-FFF2-40B4-BE49-F238E27FC236}">
                <a16:creationId xmlns:a16="http://schemas.microsoft.com/office/drawing/2014/main" id="{375BC3A2-20D8-DF72-6696-8E4EA49162F1}"/>
              </a:ext>
            </a:extLst>
          </p:cNvPr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8274" y="3293932"/>
            <a:ext cx="1309505" cy="653451"/>
          </a:xfrm>
          <a:prstGeom prst="rect">
            <a:avLst/>
          </a:prstGeom>
        </p:spPr>
      </p:pic>
      <p:pic>
        <p:nvPicPr>
          <p:cNvPr id="36" name="Bildobjekt 35">
            <a:extLst>
              <a:ext uri="{FF2B5EF4-FFF2-40B4-BE49-F238E27FC236}">
                <a16:creationId xmlns:a16="http://schemas.microsoft.com/office/drawing/2014/main" id="{5534902C-888A-0DC1-D57D-07B9C1F72F0A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4267" y="2968891"/>
            <a:ext cx="1301201" cy="1301201"/>
          </a:xfrm>
          <a:prstGeom prst="rect">
            <a:avLst/>
          </a:prstGeom>
        </p:spPr>
      </p:pic>
      <p:pic>
        <p:nvPicPr>
          <p:cNvPr id="37" name="Bildobjekt 36">
            <a:extLst>
              <a:ext uri="{FF2B5EF4-FFF2-40B4-BE49-F238E27FC236}">
                <a16:creationId xmlns:a16="http://schemas.microsoft.com/office/drawing/2014/main" id="{D5FFC60C-DF34-2BE2-3E83-9A98F8CE0B82}"/>
              </a:ext>
            </a:extLst>
          </p:cNvPr>
          <p:cNvPicPr>
            <a:picLocks noChangeAspect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9077" y="5199946"/>
            <a:ext cx="869150" cy="303829"/>
          </a:xfrm>
          <a:prstGeom prst="rect">
            <a:avLst/>
          </a:prstGeom>
        </p:spPr>
      </p:pic>
      <p:sp>
        <p:nvSpPr>
          <p:cNvPr id="38" name="Sexhörning 37">
            <a:extLst>
              <a:ext uri="{FF2B5EF4-FFF2-40B4-BE49-F238E27FC236}">
                <a16:creationId xmlns:a16="http://schemas.microsoft.com/office/drawing/2014/main" id="{B57E1C1F-E837-C2DF-8DF8-BA2F5D42A093}"/>
              </a:ext>
            </a:extLst>
          </p:cNvPr>
          <p:cNvSpPr/>
          <p:nvPr/>
        </p:nvSpPr>
        <p:spPr>
          <a:xfrm>
            <a:off x="3632195" y="3492619"/>
            <a:ext cx="4827807" cy="1076400"/>
          </a:xfrm>
          <a:prstGeom prst="hexagon">
            <a:avLst/>
          </a:prstGeom>
          <a:blipFill dpi="0" rotWithShape="1">
            <a:blip r:embed="rId3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2800" b="1">
                <a:latin typeface="Helvetica" pitchFamily="2" charset="0"/>
              </a:rPr>
              <a:t>50+ INVESTORS</a:t>
            </a:r>
          </a:p>
          <a:p>
            <a:pPr algn="ctr"/>
            <a:r>
              <a:rPr lang="sv-SE" sz="2800" b="1">
                <a:latin typeface="Helvetica" pitchFamily="2" charset="0"/>
              </a:rPr>
              <a:t>$11 TRILLION</a:t>
            </a:r>
          </a:p>
        </p:txBody>
      </p:sp>
      <p:sp>
        <p:nvSpPr>
          <p:cNvPr id="39" name="Rektangel 38">
            <a:extLst>
              <a:ext uri="{FF2B5EF4-FFF2-40B4-BE49-F238E27FC236}">
                <a16:creationId xmlns:a16="http://schemas.microsoft.com/office/drawing/2014/main" id="{B107B514-B5E6-003F-81A2-B105F11074C0}"/>
              </a:ext>
            </a:extLst>
          </p:cNvPr>
          <p:cNvSpPr/>
          <p:nvPr/>
        </p:nvSpPr>
        <p:spPr>
          <a:xfrm>
            <a:off x="0" y="0"/>
            <a:ext cx="12192000" cy="1352470"/>
          </a:xfrm>
          <a:prstGeom prst="rect">
            <a:avLst/>
          </a:prstGeom>
          <a:blipFill dpi="0" rotWithShape="1">
            <a:blip r:embed="rId3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40" name="Bildobjekt 39">
            <a:extLst>
              <a:ext uri="{FF2B5EF4-FFF2-40B4-BE49-F238E27FC236}">
                <a16:creationId xmlns:a16="http://schemas.microsoft.com/office/drawing/2014/main" id="{B8399015-8D7F-69C2-88E6-DA1B4315DFF8}"/>
              </a:ext>
            </a:extLst>
          </p:cNvPr>
          <p:cNvPicPr>
            <a:picLocks noChangeAspect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86422" y="-1022705"/>
            <a:ext cx="6007031" cy="35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0998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18077844-8330-CA71-E3C7-503D764627E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35CFCAC-6AB4-6D8E-85BA-ECAA3BC73E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5300" b="1">
                <a:solidFill>
                  <a:schemeClr val="accent1"/>
                </a:solidFill>
                <a:latin typeface="+mj-lt"/>
              </a:rPr>
              <a:t>KEY ASKS:</a:t>
            </a:r>
          </a:p>
          <a:p>
            <a:pPr marL="514350" indent="-514350">
              <a:buFont typeface="+mj-lt"/>
              <a:buAutoNum type="arabicPeriod"/>
            </a:pPr>
            <a:r>
              <a:rPr lang="en-GB"/>
              <a:t>Increase transparency</a:t>
            </a:r>
          </a:p>
          <a:p>
            <a:pPr marL="514350" indent="-514350">
              <a:buFont typeface="+mj-lt"/>
              <a:buAutoNum type="arabicPeriod"/>
            </a:pPr>
            <a:r>
              <a:rPr lang="en-GB"/>
              <a:t>Phase out persistent chemicals</a:t>
            </a:r>
          </a:p>
          <a:p>
            <a:pPr marL="514350" indent="-514350">
              <a:buFont typeface="+mj-lt"/>
              <a:buAutoNum type="arabicPeriod"/>
            </a:pPr>
            <a:r>
              <a:rPr lang="en-GB"/>
              <a:t>Improve the company’s ChemScore</a:t>
            </a:r>
          </a:p>
        </p:txBody>
      </p:sp>
      <p:pic>
        <p:nvPicPr>
          <p:cNvPr id="9" name="Platshållare för bild 8">
            <a:extLst>
              <a:ext uri="{FF2B5EF4-FFF2-40B4-BE49-F238E27FC236}">
                <a16:creationId xmlns:a16="http://schemas.microsoft.com/office/drawing/2014/main" id="{D95436C5-3168-7869-EBBC-A1A83EE333C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010025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3F025D4-5D9B-F4B2-DD55-A4816068A2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F025D4-5D9B-F4B2-DD55-A4816068A2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E84AD705-5F5C-44D6-9850-CB3334426D4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5" name="Platshållare för innehåll 3" descr="En bild som visar text, logotyp, Teckensnitt, cirkel&#10;&#10;Automatiskt genererad beskrivning">
            <a:extLst>
              <a:ext uri="{FF2B5EF4-FFF2-40B4-BE49-F238E27FC236}">
                <a16:creationId xmlns:a16="http://schemas.microsoft.com/office/drawing/2014/main" id="{A8B0DCF9-9F9B-C687-F7EF-6E1FB7C5056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38623" y="728663"/>
            <a:ext cx="2555311" cy="2555311"/>
          </a:xfrm>
          <a:prstGeom prst="rect">
            <a:avLst/>
          </a:prstGeom>
          <a:ln w="2086" cap="flat">
            <a:noFill/>
            <a:prstDash val="solid"/>
            <a:miter/>
          </a:ln>
          <a:effectLst>
            <a:outerShdw blurRad="165100" dist="241300" dir="2460000" sx="99000" sy="99000" algn="tl" rotWithShape="0">
              <a:prstClr val="black">
                <a:alpha val="43000"/>
              </a:prstClr>
            </a:outerShdw>
          </a:effectLst>
        </p:spPr>
      </p:pic>
      <p:sp>
        <p:nvSpPr>
          <p:cNvPr id="6" name="Rubrik 5">
            <a:extLst>
              <a:ext uri="{FF2B5EF4-FFF2-40B4-BE49-F238E27FC236}">
                <a16:creationId xmlns:a16="http://schemas.microsoft.com/office/drawing/2014/main" id="{01DE9FB5-1956-D251-A7BA-C0D462E70F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e pfas movement has 100+ member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CB74B5F-201F-4851-9A86-1814EB6DF4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88" y="3649386"/>
            <a:ext cx="10846623" cy="2532339"/>
          </a:xfrm>
        </p:spPr>
        <p:txBody>
          <a:bodyPr/>
          <a:lstStyle/>
          <a:p>
            <a:pPr marL="0" lvl="0" indent="0">
              <a:buNone/>
            </a:pPr>
            <a:r>
              <a:rPr lang="en-GB" sz="2200" noProof="0" dirty="0"/>
              <a:t>By joining the movement, it means that your company:</a:t>
            </a:r>
          </a:p>
          <a:p>
            <a:pPr lvl="0"/>
            <a:r>
              <a:rPr lang="en-GB" sz="2200" dirty="0"/>
              <a:t>Recognizes that PFAS is a major health and environmental problem</a:t>
            </a:r>
          </a:p>
          <a:p>
            <a:pPr lvl="0"/>
            <a:r>
              <a:rPr lang="en-GB" sz="2200" dirty="0"/>
              <a:t>Supports a group ban on all non-essential PFAS uses</a:t>
            </a:r>
          </a:p>
          <a:p>
            <a:pPr lvl="0"/>
            <a:r>
              <a:rPr lang="en-GB" sz="2200" dirty="0"/>
              <a:t>Have the ambition to phase out all non-essential PFAS uses in products and supply chains, alternatively already have phased it out or never used it</a:t>
            </a:r>
          </a:p>
        </p:txBody>
      </p:sp>
    </p:spTree>
    <p:extLst>
      <p:ext uri="{BB962C8B-B14F-4D97-AF65-F5344CB8AC3E}">
        <p14:creationId xmlns:p14="http://schemas.microsoft.com/office/powerpoint/2010/main" val="34785556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F13B1E-0A4D-4594-BBDF-F420E219992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solidFill>
            <a:schemeClr val="accent1"/>
          </a:solidFill>
        </p:spPr>
        <p:txBody>
          <a:bodyPr/>
          <a:lstStyle/>
          <a:p>
            <a:r>
              <a:rPr lang="en-GB" dirty="0"/>
              <a:t>PFAS movement members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0CD9AA64-B25B-B035-54E1-D5CF85B04D7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03275"/>
            <a:ext cx="12190139" cy="6054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9162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C154E8E-517F-8CFA-023C-6C9B152FE5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44" y="1843087"/>
            <a:ext cx="5456255" cy="4333875"/>
          </a:xfrm>
        </p:spPr>
        <p:txBody>
          <a:bodyPr/>
          <a:lstStyle/>
          <a:p>
            <a:r>
              <a:rPr lang="en-GB" sz="2200" dirty="0"/>
              <a:t>Awareness of political processes: timing </a:t>
            </a:r>
          </a:p>
          <a:p>
            <a:r>
              <a:rPr lang="en-GB" sz="2200" dirty="0"/>
              <a:t>Avoid supporting ”paralysis by analysis” </a:t>
            </a:r>
          </a:p>
          <a:p>
            <a:r>
              <a:rPr lang="en-GB" sz="2200" dirty="0"/>
              <a:t>Illustrate and clarify the urgency</a:t>
            </a:r>
          </a:p>
          <a:p>
            <a:r>
              <a:rPr lang="en-GB" sz="2200" dirty="0"/>
              <a:t>Identify and validate ways forward</a:t>
            </a:r>
          </a:p>
          <a:p>
            <a:r>
              <a:rPr lang="en-GB" sz="2200" dirty="0"/>
              <a:t>Reply to the public consultation on the restriction: Persistency concern, Polymer concern, Waste and emissions, Alternatives</a:t>
            </a:r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938F38A5-3E7C-105F-67EE-5C51C299B5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asks to scientists</a:t>
            </a:r>
          </a:p>
        </p:txBody>
      </p:sp>
      <p:pic>
        <p:nvPicPr>
          <p:cNvPr id="7" name="Platshållare för bild 7">
            <a:extLst>
              <a:ext uri="{FF2B5EF4-FFF2-40B4-BE49-F238E27FC236}">
                <a16:creationId xmlns:a16="http://schemas.microsoft.com/office/drawing/2014/main" id="{29038ACF-3836-DEE7-F651-36D0B771DD1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3860283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1D63B884-7557-EB5E-93AD-EF9FD82D9C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sv-SE" dirty="0">
                <a:hlinkClick r:id="rId2"/>
              </a:rPr>
              <a:t>Anna.lennquist@chemsec.org</a:t>
            </a:r>
            <a:r>
              <a:rPr lang="sv-SE" dirty="0"/>
              <a:t> 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E44AE95-465A-BAF1-62E5-6E3210BC22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/>
              <a:t>Thanks for listening!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B986D9F2-01CD-4B71-3A58-892EFBECFD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sv-SE"/>
              <a:t>Anna Lennquist</a:t>
            </a:r>
          </a:p>
        </p:txBody>
      </p:sp>
      <p:pic>
        <p:nvPicPr>
          <p:cNvPr id="13" name="Platshållare för bild 12">
            <a:extLst>
              <a:ext uri="{FF2B5EF4-FFF2-40B4-BE49-F238E27FC236}">
                <a16:creationId xmlns:a16="http://schemas.microsoft.com/office/drawing/2014/main" id="{0B927D67-E40F-6A1D-D644-3E7E6D98A6C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textruta 3">
            <a:extLst>
              <a:ext uri="{FF2B5EF4-FFF2-40B4-BE49-F238E27FC236}">
                <a16:creationId xmlns:a16="http://schemas.microsoft.com/office/drawing/2014/main" id="{03D59446-769B-95B4-3058-97A96528D267}"/>
              </a:ext>
            </a:extLst>
          </p:cNvPr>
          <p:cNvSpPr txBox="1"/>
          <p:nvPr/>
        </p:nvSpPr>
        <p:spPr>
          <a:xfrm>
            <a:off x="6712350" y="6041067"/>
            <a:ext cx="53699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+mj-lt"/>
              </a:rPr>
              <a:t>Some of the projects presented were funded by </a:t>
            </a:r>
            <a:r>
              <a:rPr lang="sv-FI" sz="1400" b="0" i="0" u="none" strike="noStrike" dirty="0">
                <a:solidFill>
                  <a:srgbClr val="000000"/>
                </a:solidFill>
                <a:effectLst/>
                <a:latin typeface="+mj-lt"/>
              </a:rPr>
              <a:t>the European Union’s Horizon 2020 research and innovation programme under grant agreement No 101036756.</a:t>
            </a:r>
            <a:endParaRPr lang="en-GB" sz="1400" dirty="0">
              <a:latin typeface="+mj-lt"/>
            </a:endParaRP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D0EC8B72-0CE1-F563-9D8E-D1D504C67B6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9805" y="6113122"/>
            <a:ext cx="1028368" cy="656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2576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08763865-035F-958A-7706-54FFFAAE975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6B14BF39-B90B-9B41-7A7A-BCD8F99C14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Environmental NGO aiming to reduce the use of hazardous substances</a:t>
            </a:r>
          </a:p>
          <a:p>
            <a:r>
              <a:rPr lang="en-US" sz="2400" dirty="0"/>
              <a:t>Cooperates with different stakeholders to drive the change to safer chemicals</a:t>
            </a:r>
          </a:p>
          <a:p>
            <a:r>
              <a:rPr lang="en-US" sz="2400" dirty="0"/>
              <a:t>Receives funding from the Swedish Government and various charity funds</a:t>
            </a:r>
          </a:p>
        </p:txBody>
      </p:sp>
      <p:pic>
        <p:nvPicPr>
          <p:cNvPr id="18" name="Bildobjekt 17">
            <a:extLst>
              <a:ext uri="{FF2B5EF4-FFF2-40B4-BE49-F238E27FC236}">
                <a16:creationId xmlns:a16="http://schemas.microsoft.com/office/drawing/2014/main" id="{FDEA20A6-654A-47FD-4EFE-6DDFB70CFB2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8081" y="334754"/>
            <a:ext cx="5120032" cy="1201640"/>
          </a:xfrm>
          <a:prstGeom prst="rect">
            <a:avLst/>
          </a:prstGeom>
        </p:spPr>
      </p:pic>
      <p:pic>
        <p:nvPicPr>
          <p:cNvPr id="7" name="Platshållare för bild 6">
            <a:extLst>
              <a:ext uri="{FF2B5EF4-FFF2-40B4-BE49-F238E27FC236}">
                <a16:creationId xmlns:a16="http://schemas.microsoft.com/office/drawing/2014/main" id="{85126DF6-0180-A92A-E2B2-10C633DEEF7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</p:spPr>
      </p:pic>
    </p:spTree>
    <p:extLst>
      <p:ext uri="{BB962C8B-B14F-4D97-AF65-F5344CB8AC3E}">
        <p14:creationId xmlns:p14="http://schemas.microsoft.com/office/powerpoint/2010/main" val="32617805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latshållare för bild 7">
            <a:extLst>
              <a:ext uri="{FF2B5EF4-FFF2-40B4-BE49-F238E27FC236}">
                <a16:creationId xmlns:a16="http://schemas.microsoft.com/office/drawing/2014/main" id="{7CDFBA4D-59CC-8320-F437-B93AB52CCCE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336550"/>
            <a:ext cx="5884333" cy="6146800"/>
          </a:xfrm>
        </p:spPr>
      </p:pic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85D85932-0CBB-5FF7-E6A0-F91FA799EB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err="1"/>
              <a:t>Website</a:t>
            </a:r>
            <a:r>
              <a:rPr lang="sv-SE" dirty="0"/>
              <a:t>: </a:t>
            </a:r>
            <a:r>
              <a:rPr lang="sv-SE" dirty="0">
                <a:hlinkClick r:id="rId3"/>
              </a:rPr>
              <a:t>chemsec.org</a:t>
            </a:r>
            <a:r>
              <a:rPr lang="sv-SE" dirty="0"/>
              <a:t> </a:t>
            </a:r>
          </a:p>
          <a:p>
            <a:r>
              <a:rPr lang="sv-SE" dirty="0" err="1"/>
              <a:t>How</a:t>
            </a:r>
            <a:r>
              <a:rPr lang="sv-SE" dirty="0"/>
              <a:t> to </a:t>
            </a:r>
            <a:r>
              <a:rPr lang="sv-SE" dirty="0" err="1"/>
              <a:t>reply</a:t>
            </a:r>
            <a:r>
              <a:rPr lang="sv-SE" dirty="0"/>
              <a:t> to the public </a:t>
            </a:r>
            <a:r>
              <a:rPr lang="sv-SE" dirty="0" err="1"/>
              <a:t>consultation</a:t>
            </a:r>
            <a:r>
              <a:rPr lang="sv-SE" dirty="0"/>
              <a:t>:</a:t>
            </a:r>
          </a:p>
          <a:p>
            <a:pPr marL="0" indent="0">
              <a:buNone/>
            </a:pPr>
            <a:r>
              <a:rPr lang="sv-SE" dirty="0" err="1"/>
              <a:t>https</a:t>
            </a:r>
            <a:r>
              <a:rPr lang="sv-SE" dirty="0"/>
              <a:t>://</a:t>
            </a:r>
            <a:r>
              <a:rPr lang="sv-SE" dirty="0" err="1"/>
              <a:t>chemsec.org</a:t>
            </a:r>
            <a:r>
              <a:rPr lang="sv-SE" dirty="0"/>
              <a:t>/all-</a:t>
            </a:r>
            <a:r>
              <a:rPr lang="sv-SE" dirty="0" err="1"/>
              <a:t>you</a:t>
            </a:r>
            <a:r>
              <a:rPr lang="sv-SE" dirty="0"/>
              <a:t>-</a:t>
            </a:r>
            <a:r>
              <a:rPr lang="sv-SE" dirty="0" err="1"/>
              <a:t>need</a:t>
            </a:r>
            <a:r>
              <a:rPr lang="sv-SE" dirty="0"/>
              <a:t>-to-</a:t>
            </a:r>
            <a:r>
              <a:rPr lang="sv-SE" dirty="0" err="1"/>
              <a:t>know</a:t>
            </a:r>
            <a:r>
              <a:rPr lang="sv-SE" dirty="0"/>
              <a:t>-</a:t>
            </a:r>
            <a:r>
              <a:rPr lang="sv-SE" dirty="0" err="1"/>
              <a:t>about</a:t>
            </a:r>
            <a:r>
              <a:rPr lang="sv-SE" dirty="0"/>
              <a:t>-the-</a:t>
            </a:r>
            <a:r>
              <a:rPr lang="sv-SE" dirty="0" err="1"/>
              <a:t>pfas</a:t>
            </a:r>
            <a:r>
              <a:rPr lang="sv-SE" dirty="0"/>
              <a:t>-</a:t>
            </a:r>
            <a:r>
              <a:rPr lang="sv-SE" dirty="0" err="1"/>
              <a:t>restriction-consultation</a:t>
            </a:r>
            <a:r>
              <a:rPr lang="sv-SE" dirty="0"/>
              <a:t>/</a:t>
            </a:r>
          </a:p>
          <a:p>
            <a:r>
              <a:rPr lang="sv-SE" dirty="0"/>
              <a:t>LinkedIn: </a:t>
            </a:r>
            <a:r>
              <a:rPr lang="sv-SE" dirty="0">
                <a:hlinkClick r:id="rId4"/>
              </a:rPr>
              <a:t>ChemSec</a:t>
            </a:r>
            <a:endParaRPr lang="sv-SE" dirty="0"/>
          </a:p>
          <a:p>
            <a:r>
              <a:rPr lang="sv-SE" dirty="0"/>
              <a:t>Twitter: </a:t>
            </a:r>
            <a:r>
              <a:rPr lang="sv-SE" dirty="0">
                <a:hlinkClick r:id="rId5"/>
              </a:rPr>
              <a:t>@chemsec</a:t>
            </a:r>
            <a:endParaRPr lang="sv-SE" dirty="0"/>
          </a:p>
          <a:p>
            <a:r>
              <a:rPr lang="sv-SE" dirty="0" err="1"/>
              <a:t>Instagram</a:t>
            </a:r>
            <a:r>
              <a:rPr lang="sv-SE" dirty="0"/>
              <a:t>: </a:t>
            </a:r>
            <a:r>
              <a:rPr lang="sv-SE" dirty="0">
                <a:hlinkClick r:id="rId6"/>
              </a:rPr>
              <a:t>@_chemsec</a:t>
            </a:r>
            <a:endParaRPr lang="sv-SE" dirty="0"/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F50DE314-A873-655D-CF4F-AD7EC5BC08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tay in touch with chemsec</a:t>
            </a:r>
          </a:p>
        </p:txBody>
      </p:sp>
    </p:spTree>
    <p:extLst>
      <p:ext uri="{BB962C8B-B14F-4D97-AF65-F5344CB8AC3E}">
        <p14:creationId xmlns:p14="http://schemas.microsoft.com/office/powerpoint/2010/main" val="18321130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D6B4A96B-28CC-821D-BC08-43E878D684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200" dirty="0"/>
              <a:t>Drive the political discussion on hazardous chemicals</a:t>
            </a:r>
          </a:p>
          <a:p>
            <a:r>
              <a:rPr lang="en-US" sz="2200" dirty="0"/>
              <a:t>Challenge companies to improve their chemicals management</a:t>
            </a:r>
          </a:p>
          <a:p>
            <a:r>
              <a:rPr lang="en-US" sz="2200" dirty="0"/>
              <a:t>Develop online tools to help companies switch to safer chemicals</a:t>
            </a:r>
          </a:p>
          <a:p>
            <a:r>
              <a:rPr lang="en-US" sz="2200" dirty="0"/>
              <a:t>Inform investors about risks and opportunities in the chemical industry</a:t>
            </a:r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D89864A9-9B19-05B8-D0D6-B1E30BA9B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hat we do at chemsec</a:t>
            </a:r>
          </a:p>
        </p:txBody>
      </p:sp>
      <p:pic>
        <p:nvPicPr>
          <p:cNvPr id="10" name="Platshållare för bild 9">
            <a:extLst>
              <a:ext uri="{FF2B5EF4-FFF2-40B4-BE49-F238E27FC236}">
                <a16:creationId xmlns:a16="http://schemas.microsoft.com/office/drawing/2014/main" id="{85521A18-4C28-81CB-743C-869788FC0F5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5211313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9A33F84B-462C-E01A-0C4A-8A79AAA11E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33F84B-462C-E01A-0C4A-8A79AAA11E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454F35A7-A8F1-1C04-5F2B-FACBAB2AA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GB"/>
              <a:t>Chemsec Business Group</a:t>
            </a:r>
          </a:p>
        </p:txBody>
      </p:sp>
      <p:pic>
        <p:nvPicPr>
          <p:cNvPr id="3" name="a1e2090a-8648-442b-a1b0-65ad9862fde2" descr="Dell-logo.png">
            <a:extLst>
              <a:ext uri="{FF2B5EF4-FFF2-40B4-BE49-F238E27FC236}">
                <a16:creationId xmlns:a16="http://schemas.microsoft.com/office/drawing/2014/main" id="{B89A051D-5A72-0D90-A136-FF72DC90F43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16683" y="2481951"/>
            <a:ext cx="1316916" cy="1255092"/>
          </a:xfrm>
          <a:prstGeom prst="rect">
            <a:avLst/>
          </a:prstGeom>
          <a:noFill/>
        </p:spPr>
      </p:pic>
      <p:pic>
        <p:nvPicPr>
          <p:cNvPr id="4" name="7ddae53f-c232-4034-ba95-4acf599c3e5e" descr="Sony_logo.png">
            <a:extLst>
              <a:ext uri="{FF2B5EF4-FFF2-40B4-BE49-F238E27FC236}">
                <a16:creationId xmlns:a16="http://schemas.microsoft.com/office/drawing/2014/main" id="{E747D91E-16EB-E770-05CA-4A6559DE9BB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6917" b="-10106"/>
          <a:stretch/>
        </p:blipFill>
        <p:spPr>
          <a:xfrm>
            <a:off x="7949785" y="4161221"/>
            <a:ext cx="2144841" cy="474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8605000f-ce0d-44db-8f80-b76d4730d18a" descr="Eureau_png.png">
            <a:extLst>
              <a:ext uri="{FF2B5EF4-FFF2-40B4-BE49-F238E27FC236}">
                <a16:creationId xmlns:a16="http://schemas.microsoft.com/office/drawing/2014/main" id="{E052D001-AA9A-7358-282F-4AC08BE20E3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2054" r="-4549"/>
          <a:stretch/>
        </p:blipFill>
        <p:spPr>
          <a:xfrm>
            <a:off x="997070" y="1284901"/>
            <a:ext cx="1105140" cy="1669172"/>
          </a:xfrm>
          <a:prstGeom prst="rect">
            <a:avLst/>
          </a:prstGeom>
          <a:noFill/>
        </p:spPr>
      </p:pic>
      <p:pic>
        <p:nvPicPr>
          <p:cNvPr id="6" name="f12c769c-b246-426d-86b4-48a4dfee61a7" descr="skanska png.png">
            <a:extLst>
              <a:ext uri="{FF2B5EF4-FFF2-40B4-BE49-F238E27FC236}">
                <a16:creationId xmlns:a16="http://schemas.microsoft.com/office/drawing/2014/main" id="{EFD050E8-5055-0804-3348-F8F92D41C3F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8550" y="5427655"/>
            <a:ext cx="2546380" cy="484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be63cb6-42e7-4246-95ec-a39b37903fcf" descr="boots_transparent.png">
            <a:extLst>
              <a:ext uri="{FF2B5EF4-FFF2-40B4-BE49-F238E27FC236}">
                <a16:creationId xmlns:a16="http://schemas.microsoft.com/office/drawing/2014/main" id="{88043C4D-6D1A-6782-0340-2EF21EC5466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61543" y="1333918"/>
            <a:ext cx="1691318" cy="1108806"/>
          </a:xfrm>
          <a:prstGeom prst="rect">
            <a:avLst/>
          </a:prstGeom>
        </p:spPr>
      </p:pic>
      <p:pic>
        <p:nvPicPr>
          <p:cNvPr id="8" name="7a2846ad-9da5-4832-b7d6-5f2a054ea6c3" descr="ikea_logo transparent.png">
            <a:extLst>
              <a:ext uri="{FF2B5EF4-FFF2-40B4-BE49-F238E27FC236}">
                <a16:creationId xmlns:a16="http://schemas.microsoft.com/office/drawing/2014/main" id="{5EE63915-BBED-614E-7DE5-A8269ADC3E4F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39713" y="3896764"/>
            <a:ext cx="2076460" cy="816660"/>
          </a:xfrm>
          <a:prstGeom prst="rect">
            <a:avLst/>
          </a:prstGeom>
        </p:spPr>
      </p:pic>
      <p:pic>
        <p:nvPicPr>
          <p:cNvPr id="9" name="d2a5d46a-fd14-4aee-a15c-1fc980dd39bd" descr="apple-logo_318-40184.png">
            <a:extLst>
              <a:ext uri="{FF2B5EF4-FFF2-40B4-BE49-F238E27FC236}">
                <a16:creationId xmlns:a16="http://schemas.microsoft.com/office/drawing/2014/main" id="{2E16D030-A1F6-F86E-099D-C6C6AF646250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1248" y="1404355"/>
            <a:ext cx="1105141" cy="1105141"/>
          </a:xfrm>
          <a:prstGeom prst="rect">
            <a:avLst/>
          </a:prstGeom>
        </p:spPr>
      </p:pic>
      <p:pic>
        <p:nvPicPr>
          <p:cNvPr id="10" name="4dae0887-9a9d-45f8-ada4-4425064b2551" descr="coop-transparent.png">
            <a:extLst>
              <a:ext uri="{FF2B5EF4-FFF2-40B4-BE49-F238E27FC236}">
                <a16:creationId xmlns:a16="http://schemas.microsoft.com/office/drawing/2014/main" id="{04FCB4CC-1DD5-957D-14E9-A695C3850B97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25593" y="5235377"/>
            <a:ext cx="2140813" cy="677052"/>
          </a:xfrm>
          <a:prstGeom prst="rect">
            <a:avLst/>
          </a:prstGeom>
        </p:spPr>
      </p:pic>
      <p:pic>
        <p:nvPicPr>
          <p:cNvPr id="11" name="31920348-4eb5-4032-a63f-3cc21e756d9c" descr="kingfisher transparent.png">
            <a:extLst>
              <a:ext uri="{FF2B5EF4-FFF2-40B4-BE49-F238E27FC236}">
                <a16:creationId xmlns:a16="http://schemas.microsoft.com/office/drawing/2014/main" id="{9F100C79-AA3E-75BF-27C1-5ABE567B6A29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8662" y="5276786"/>
            <a:ext cx="2721840" cy="868083"/>
          </a:xfrm>
          <a:prstGeom prst="rect">
            <a:avLst/>
          </a:prstGeom>
        </p:spPr>
      </p:pic>
      <p:pic>
        <p:nvPicPr>
          <p:cNvPr id="12" name="eb19a4b2-4250-4c11-97bd-4c52cedd9d92" descr="LEGO_logo250x250.jpg">
            <a:extLst>
              <a:ext uri="{FF2B5EF4-FFF2-40B4-BE49-F238E27FC236}">
                <a16:creationId xmlns:a16="http://schemas.microsoft.com/office/drawing/2014/main" id="{E4EBAE13-E229-50CE-8850-C4C50F7AD4C3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41740" y="2841510"/>
            <a:ext cx="1164514" cy="1164514"/>
          </a:xfrm>
          <a:prstGeom prst="rect">
            <a:avLst/>
          </a:prstGeom>
        </p:spPr>
      </p:pic>
      <p:pic>
        <p:nvPicPr>
          <p:cNvPr id="13" name="a89e248d-e224-4a20-8410-475ffa578e71">
            <a:extLst>
              <a:ext uri="{FF2B5EF4-FFF2-40B4-BE49-F238E27FC236}">
                <a16:creationId xmlns:a16="http://schemas.microsoft.com/office/drawing/2014/main" id="{C69ECF6B-6751-C16C-087F-3FDCA2A2B4AA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96" y="4305094"/>
            <a:ext cx="2471869" cy="474802"/>
          </a:xfrm>
          <a:prstGeom prst="rect">
            <a:avLst/>
          </a:prstGeom>
        </p:spPr>
      </p:pic>
      <p:pic>
        <p:nvPicPr>
          <p:cNvPr id="14" name="Bildobjekt 13">
            <a:extLst>
              <a:ext uri="{FF2B5EF4-FFF2-40B4-BE49-F238E27FC236}">
                <a16:creationId xmlns:a16="http://schemas.microsoft.com/office/drawing/2014/main" id="{28653E0F-6B0B-1645-5511-37DEA9AE42D7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2223" y="1572531"/>
            <a:ext cx="2076834" cy="485242"/>
          </a:xfrm>
          <a:prstGeom prst="rect">
            <a:avLst/>
          </a:prstGeom>
        </p:spPr>
      </p:pic>
      <p:pic>
        <p:nvPicPr>
          <p:cNvPr id="15" name="Bildobjekt 14">
            <a:extLst>
              <a:ext uri="{FF2B5EF4-FFF2-40B4-BE49-F238E27FC236}">
                <a16:creationId xmlns:a16="http://schemas.microsoft.com/office/drawing/2014/main" id="{C57505BE-09F6-BB7C-AC23-315A6B8BD226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026" y="3001906"/>
            <a:ext cx="3175859" cy="322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791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17D68FD4-CE13-39D1-9BEB-E1451F661A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E880D733-FC60-216A-CE69-BA32692651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2400" dirty="0"/>
              <a:t>Science is clear: PFAS use and production must be limited:</a:t>
            </a:r>
          </a:p>
          <a:p>
            <a:pPr marL="0" indent="0">
              <a:buNone/>
            </a:pPr>
            <a:r>
              <a:rPr lang="en-GB" sz="2400" dirty="0"/>
              <a:t>Regulation is the most efficient measure</a:t>
            </a:r>
          </a:p>
          <a:p>
            <a:pPr marL="0" indent="0">
              <a:buNone/>
            </a:pPr>
            <a:r>
              <a:rPr lang="en-GB" sz="2400" dirty="0"/>
              <a:t>…but market changes can be quicker, and global</a:t>
            </a:r>
          </a:p>
          <a:p>
            <a:pPr marL="0" indent="0">
              <a:buNone/>
            </a:pPr>
            <a:r>
              <a:rPr lang="en-GB" sz="2400" dirty="0"/>
              <a:t>…and regulatory process rely on market maturity</a:t>
            </a:r>
          </a:p>
          <a:p>
            <a:pPr marL="0" indent="0">
              <a:buNone/>
            </a:pPr>
            <a:r>
              <a:rPr lang="en-GB" sz="2400" dirty="0"/>
              <a:t>Derogations from PFAS restriction are based on alternatives</a:t>
            </a:r>
          </a:p>
          <a:p>
            <a:endParaRPr lang="sv-SE" sz="2400" dirty="0"/>
          </a:p>
        </p:txBody>
      </p:sp>
      <p:sp>
        <p:nvSpPr>
          <p:cNvPr id="5" name="Rubrik 4">
            <a:extLst>
              <a:ext uri="{FF2B5EF4-FFF2-40B4-BE49-F238E27FC236}">
                <a16:creationId xmlns:a16="http://schemas.microsoft.com/office/drawing/2014/main" id="{A0DC6703-690D-22C0-AD83-2024BAEB6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RANSITIONING THE MARKET is key to solve the PFAS crisis</a:t>
            </a:r>
          </a:p>
        </p:txBody>
      </p:sp>
      <p:pic>
        <p:nvPicPr>
          <p:cNvPr id="11" name="Platshållare för bild 10">
            <a:extLst>
              <a:ext uri="{FF2B5EF4-FFF2-40B4-BE49-F238E27FC236}">
                <a16:creationId xmlns:a16="http://schemas.microsoft.com/office/drawing/2014/main" id="{396C6EF5-5D3B-3993-67E7-BD13C06FDD7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250178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81F30BA7-5E67-D51A-ADE7-4950422028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Courier New" panose="02070309020205020404" pitchFamily="49" charset="0"/>
              <a:buChar char="o"/>
            </a:pPr>
            <a:r>
              <a:rPr lang="en-GB" sz="2200" dirty="0"/>
              <a:t>Awareness among companies:</a:t>
            </a:r>
          </a:p>
          <a:p>
            <a:pPr marL="0" indent="0">
              <a:buNone/>
            </a:pPr>
            <a:r>
              <a:rPr lang="en-GB" sz="2200" dirty="0"/>
              <a:t>- about the problem</a:t>
            </a:r>
          </a:p>
          <a:p>
            <a:pPr marL="0" indent="0">
              <a:buNone/>
            </a:pPr>
            <a:r>
              <a:rPr lang="en-GB" sz="2200" dirty="0"/>
              <a:t>- about where and why PFAS is used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GB" sz="2200" dirty="0"/>
              <a:t>Knowledge:</a:t>
            </a:r>
          </a:p>
          <a:p>
            <a:pPr marL="0" indent="0">
              <a:buNone/>
            </a:pPr>
            <a:r>
              <a:rPr lang="en-GB" sz="2200" dirty="0"/>
              <a:t>- functional substitution of PFAS</a:t>
            </a:r>
          </a:p>
          <a:p>
            <a:pPr marL="0" indent="0">
              <a:buNone/>
            </a:pPr>
            <a:r>
              <a:rPr lang="en-GB" sz="2200" dirty="0"/>
              <a:t>- availability of alternatives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GB" sz="2200" dirty="0"/>
              <a:t>Regulation to follow as expected</a:t>
            </a:r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35344E80-93DA-FE6B-D7F3-9A4BE24633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hat is needed</a:t>
            </a:r>
          </a:p>
        </p:txBody>
      </p:sp>
      <p:pic>
        <p:nvPicPr>
          <p:cNvPr id="10" name="Platshållare för bild 4">
            <a:extLst>
              <a:ext uri="{FF2B5EF4-FFF2-40B4-BE49-F238E27FC236}">
                <a16:creationId xmlns:a16="http://schemas.microsoft.com/office/drawing/2014/main" id="{3FAC379C-2B77-AE13-D680-A67515FAFEF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5144" y="0"/>
            <a:ext cx="609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3201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D7EA597D-9850-A390-55CE-FF67D651BE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200" dirty="0"/>
              <a:t>News and and webinars</a:t>
            </a:r>
          </a:p>
          <a:p>
            <a:r>
              <a:rPr lang="en-GB" sz="2200" dirty="0"/>
              <a:t>PFAS guide </a:t>
            </a:r>
          </a:p>
          <a:p>
            <a:r>
              <a:rPr lang="en-GB" sz="2200" dirty="0"/>
              <a:t>SIN List </a:t>
            </a:r>
          </a:p>
          <a:p>
            <a:r>
              <a:rPr lang="en-GB" sz="2200" dirty="0"/>
              <a:t>Marketplace</a:t>
            </a:r>
          </a:p>
          <a:p>
            <a:r>
              <a:rPr lang="en-GB" sz="2200" dirty="0"/>
              <a:t>PFAS movement </a:t>
            </a:r>
          </a:p>
          <a:p>
            <a:r>
              <a:rPr lang="en-GB" sz="2200" dirty="0" err="1"/>
              <a:t>ChemScore</a:t>
            </a:r>
            <a:endParaRPr lang="en-GB" sz="2200" dirty="0"/>
          </a:p>
          <a:p>
            <a:r>
              <a:rPr lang="en-GB" sz="2200" dirty="0"/>
              <a:t>Investors initiative</a:t>
            </a:r>
          </a:p>
          <a:p>
            <a:r>
              <a:rPr lang="en-GB" sz="2200" dirty="0"/>
              <a:t>In part through </a:t>
            </a:r>
            <a:r>
              <a:rPr lang="en-GB" sz="2200" dirty="0" err="1"/>
              <a:t>ZeroPM</a:t>
            </a:r>
            <a:endParaRPr lang="en-GB" sz="2200" dirty="0"/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DCB33672-DAF0-A848-6D96-11D950235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HEMSEC work on PFAS</a:t>
            </a:r>
          </a:p>
        </p:txBody>
      </p:sp>
      <p:grpSp>
        <p:nvGrpSpPr>
          <p:cNvPr id="5" name="Group 7">
            <a:extLst>
              <a:ext uri="{FF2B5EF4-FFF2-40B4-BE49-F238E27FC236}">
                <a16:creationId xmlns:a16="http://schemas.microsoft.com/office/drawing/2014/main" id="{73DB1F27-2E5C-4039-C806-2577E61559E9}"/>
              </a:ext>
            </a:extLst>
          </p:cNvPr>
          <p:cNvGrpSpPr/>
          <p:nvPr/>
        </p:nvGrpSpPr>
        <p:grpSpPr>
          <a:xfrm>
            <a:off x="6258963" y="236192"/>
            <a:ext cx="5723248" cy="6385616"/>
            <a:chOff x="6095640" y="441325"/>
            <a:chExt cx="5723248" cy="6385616"/>
          </a:xfrm>
        </p:grpSpPr>
        <p:pic>
          <p:nvPicPr>
            <p:cNvPr id="6" name="Picture 4">
              <a:extLst>
                <a:ext uri="{FF2B5EF4-FFF2-40B4-BE49-F238E27FC236}">
                  <a16:creationId xmlns:a16="http://schemas.microsoft.com/office/drawing/2014/main" id="{B1A79F1E-DE81-70B6-CF88-2B94477C01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96000" y="441325"/>
              <a:ext cx="5712580" cy="1758178"/>
            </a:xfrm>
            <a:prstGeom prst="rect">
              <a:avLst/>
            </a:prstGeom>
          </p:spPr>
        </p:pic>
        <p:pic>
          <p:nvPicPr>
            <p:cNvPr id="7" name="Picture 5">
              <a:extLst>
                <a:ext uri="{FF2B5EF4-FFF2-40B4-BE49-F238E27FC236}">
                  <a16:creationId xmlns:a16="http://schemas.microsoft.com/office/drawing/2014/main" id="{5D23304B-458C-8536-6F7F-09D8EF12908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96000" y="2199503"/>
              <a:ext cx="5721993" cy="1842470"/>
            </a:xfrm>
            <a:prstGeom prst="rect">
              <a:avLst/>
            </a:prstGeom>
          </p:spPr>
        </p:pic>
        <p:pic>
          <p:nvPicPr>
            <p:cNvPr id="8" name="Picture 2">
              <a:extLst>
                <a:ext uri="{FF2B5EF4-FFF2-40B4-BE49-F238E27FC236}">
                  <a16:creationId xmlns:a16="http://schemas.microsoft.com/office/drawing/2014/main" id="{C7F84677-1426-502E-DC74-36A4816308E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418" t="2459" r="989" b="2563"/>
            <a:stretch/>
          </p:blipFill>
          <p:spPr bwMode="auto">
            <a:xfrm>
              <a:off x="6095640" y="4041973"/>
              <a:ext cx="5723248" cy="2784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339082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B8A9157-F19C-F2AB-F8AF-3C5D8C50B2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2800"/>
              <a:t>A tool for mapping if, where and why there is PFAS in your products or processes</a:t>
            </a:r>
          </a:p>
          <a:p>
            <a:pPr marL="0" indent="0">
              <a:buNone/>
            </a:pPr>
            <a:endParaRPr lang="en-GB" sz="2800"/>
          </a:p>
          <a:p>
            <a:pPr marL="0" indent="0">
              <a:buNone/>
            </a:pPr>
            <a:endParaRPr lang="en-GB" sz="2800"/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93F5A2C8-3999-3025-7046-092445E1A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PFAS Guide</a:t>
            </a:r>
          </a:p>
        </p:txBody>
      </p:sp>
      <p:pic>
        <p:nvPicPr>
          <p:cNvPr id="5" name="Platshållare för bild 7">
            <a:extLst>
              <a:ext uri="{FF2B5EF4-FFF2-40B4-BE49-F238E27FC236}">
                <a16:creationId xmlns:a16="http://schemas.microsoft.com/office/drawing/2014/main" id="{1116BE9A-3FA1-13EE-0F4B-0BAB3156BC1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C64B5A57-AC2C-9BC8-1E7E-E76E8B3273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2409" y="6408187"/>
            <a:ext cx="5659591" cy="4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7276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C154E8E-517F-8CFA-023C-6C9B152FE5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200" dirty="0">
                <a:solidFill>
                  <a:schemeClr val="tx1"/>
                </a:solidFill>
              </a:rPr>
              <a:t>Typical PFAS uses, supply chain communication and chemical analysis</a:t>
            </a:r>
          </a:p>
          <a:p>
            <a:r>
              <a:rPr lang="en-GB" sz="2200" dirty="0">
                <a:solidFill>
                  <a:schemeClr val="tx1"/>
                </a:solidFill>
              </a:rPr>
              <a:t>Substitution as a phase-out method. Find, evaluate and compare alternatives</a:t>
            </a:r>
          </a:p>
          <a:p>
            <a:r>
              <a:rPr lang="en-GB" sz="2200" dirty="0">
                <a:solidFill>
                  <a:schemeClr val="tx1"/>
                </a:solidFill>
              </a:rPr>
              <a:t>What are the problems with PFAS? PFAS and human health</a:t>
            </a:r>
          </a:p>
          <a:p>
            <a:r>
              <a:rPr lang="en-GB" sz="2200" dirty="0">
                <a:solidFill>
                  <a:schemeClr val="tx1"/>
                </a:solidFill>
              </a:rPr>
              <a:t>Regulation in the EU and the US</a:t>
            </a:r>
          </a:p>
          <a:p>
            <a:r>
              <a:rPr lang="en-GB" sz="2200" dirty="0">
                <a:solidFill>
                  <a:schemeClr val="tx1"/>
                </a:solidFill>
              </a:rPr>
              <a:t>Links to sector-specific reports</a:t>
            </a:r>
          </a:p>
          <a:p>
            <a:pPr marL="0" indent="0">
              <a:buNone/>
            </a:pPr>
            <a:endParaRPr lang="sv-SE" sz="2200" dirty="0"/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938F38A5-3E7C-105F-67EE-5C51C299B5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INFORMATION PART</a:t>
            </a:r>
            <a:br>
              <a:rPr lang="sv-SE" dirty="0"/>
            </a:br>
            <a:endParaRPr lang="sv-SE" dirty="0"/>
          </a:p>
        </p:txBody>
      </p:sp>
      <p:grpSp>
        <p:nvGrpSpPr>
          <p:cNvPr id="23" name="Grupp 22">
            <a:extLst>
              <a:ext uri="{FF2B5EF4-FFF2-40B4-BE49-F238E27FC236}">
                <a16:creationId xmlns:a16="http://schemas.microsoft.com/office/drawing/2014/main" id="{35EC1734-A05C-3754-3BD4-6259BA5D0D77}"/>
              </a:ext>
            </a:extLst>
          </p:cNvPr>
          <p:cNvGrpSpPr/>
          <p:nvPr/>
        </p:nvGrpSpPr>
        <p:grpSpPr>
          <a:xfrm>
            <a:off x="6096000" y="269352"/>
            <a:ext cx="4293871" cy="6319295"/>
            <a:chOff x="6096000" y="857250"/>
            <a:chExt cx="4293871" cy="6319295"/>
          </a:xfrm>
        </p:grpSpPr>
        <p:pic>
          <p:nvPicPr>
            <p:cNvPr id="24" name="Bildobjekt 23">
              <a:extLst>
                <a:ext uri="{FF2B5EF4-FFF2-40B4-BE49-F238E27FC236}">
                  <a16:creationId xmlns:a16="http://schemas.microsoft.com/office/drawing/2014/main" id="{67BA16D6-F3A4-0C9D-3807-0CE4B082AC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96000" y="3348990"/>
              <a:ext cx="4293870" cy="1405890"/>
            </a:xfrm>
            <a:prstGeom prst="rect">
              <a:avLst/>
            </a:prstGeom>
          </p:spPr>
        </p:pic>
        <p:pic>
          <p:nvPicPr>
            <p:cNvPr id="25" name="Bildobjekt 24">
              <a:extLst>
                <a:ext uri="{FF2B5EF4-FFF2-40B4-BE49-F238E27FC236}">
                  <a16:creationId xmlns:a16="http://schemas.microsoft.com/office/drawing/2014/main" id="{A1A69EA1-E051-A9CB-55CA-E2E0FA67D2C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96000" y="2068830"/>
              <a:ext cx="4293871" cy="1280160"/>
            </a:xfrm>
            <a:prstGeom prst="rect">
              <a:avLst/>
            </a:prstGeom>
          </p:spPr>
        </p:pic>
        <p:pic>
          <p:nvPicPr>
            <p:cNvPr id="26" name="Bildobjekt 25">
              <a:extLst>
                <a:ext uri="{FF2B5EF4-FFF2-40B4-BE49-F238E27FC236}">
                  <a16:creationId xmlns:a16="http://schemas.microsoft.com/office/drawing/2014/main" id="{96AA9652-ECBC-460C-550F-C9EBC6804BD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96001" y="857250"/>
              <a:ext cx="4293870" cy="1211580"/>
            </a:xfrm>
            <a:prstGeom prst="rect">
              <a:avLst/>
            </a:prstGeom>
          </p:spPr>
        </p:pic>
        <p:pic>
          <p:nvPicPr>
            <p:cNvPr id="27" name="Bildobjekt 26">
              <a:extLst>
                <a:ext uri="{FF2B5EF4-FFF2-40B4-BE49-F238E27FC236}">
                  <a16:creationId xmlns:a16="http://schemas.microsoft.com/office/drawing/2014/main" id="{1AEA362B-7459-9C21-48C6-42FB7C97EA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96000" y="4754880"/>
              <a:ext cx="4293870" cy="1167646"/>
            </a:xfrm>
            <a:prstGeom prst="rect">
              <a:avLst/>
            </a:prstGeom>
          </p:spPr>
        </p:pic>
        <p:pic>
          <p:nvPicPr>
            <p:cNvPr id="28" name="Bildobjekt 27">
              <a:extLst>
                <a:ext uri="{FF2B5EF4-FFF2-40B4-BE49-F238E27FC236}">
                  <a16:creationId xmlns:a16="http://schemas.microsoft.com/office/drawing/2014/main" id="{00838C46-7AD5-F791-A39F-FA4E7A97ECE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96000" y="5922526"/>
              <a:ext cx="4293870" cy="12540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38186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Anpassat 166">
      <a:dk1>
        <a:srgbClr val="333143"/>
      </a:dk1>
      <a:lt1>
        <a:srgbClr val="F2F3F7"/>
      </a:lt1>
      <a:dk2>
        <a:srgbClr val="FFF3DD"/>
      </a:dk2>
      <a:lt2>
        <a:srgbClr val="FFFFFF"/>
      </a:lt2>
      <a:accent1>
        <a:srgbClr val="F07D35"/>
      </a:accent1>
      <a:accent2>
        <a:srgbClr val="FFDC9B"/>
      </a:accent2>
      <a:accent3>
        <a:srgbClr val="7A58FF"/>
      </a:accent3>
      <a:accent4>
        <a:srgbClr val="432F93"/>
      </a:accent4>
      <a:accent5>
        <a:srgbClr val="D6D5D9"/>
      </a:accent5>
      <a:accent6>
        <a:srgbClr val="84838E"/>
      </a:accent6>
      <a:hlink>
        <a:srgbClr val="0563C1"/>
      </a:hlink>
      <a:folHlink>
        <a:srgbClr val="954F72"/>
      </a:folHlink>
    </a:clrScheme>
    <a:fontScheme name="Anpassat 103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7" id="{29B90223-50C2-C746-843E-719F5A48986A}" vid="{DD0861F5-DA38-B740-ACA0-33F3F5D5BEF8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-tema</Template>
  <TotalTime>9211</TotalTime>
  <Words>633</Words>
  <Application>Microsoft Macintosh PowerPoint</Application>
  <PresentationFormat>Widescreen</PresentationFormat>
  <Paragraphs>93</Paragraphs>
  <Slides>2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8" baseType="lpstr">
      <vt:lpstr>Arial</vt:lpstr>
      <vt:lpstr>Calibri</vt:lpstr>
      <vt:lpstr>Courier New</vt:lpstr>
      <vt:lpstr>Georgia</vt:lpstr>
      <vt:lpstr>Helvetica</vt:lpstr>
      <vt:lpstr>Open Sans</vt:lpstr>
      <vt:lpstr>Office-tema</vt:lpstr>
      <vt:lpstr>think-cell Slide</vt:lpstr>
      <vt:lpstr>CATAlyzing the market transition  away from Pfas</vt:lpstr>
      <vt:lpstr>PowerPoint Presentation</vt:lpstr>
      <vt:lpstr>What we do at chemsec</vt:lpstr>
      <vt:lpstr>Chemsec Business Group</vt:lpstr>
      <vt:lpstr>TRANSITIONING THE MARKET is key to solve the PFAS crisis</vt:lpstr>
      <vt:lpstr>What is needed</vt:lpstr>
      <vt:lpstr>CHEMSEC work on PFAS</vt:lpstr>
      <vt:lpstr>PFAS Guide</vt:lpstr>
      <vt:lpstr>INFORMATION PART </vt:lpstr>
      <vt:lpstr>PFAS ON sin list</vt:lpstr>
      <vt:lpstr>PFAS ON MARKETPLACE</vt:lpstr>
      <vt:lpstr>PowerPoint Presentation</vt:lpstr>
      <vt:lpstr>Database part </vt:lpstr>
      <vt:lpstr>PowerPoint Presentation</vt:lpstr>
      <vt:lpstr>PowerPoint Presentation</vt:lpstr>
      <vt:lpstr>The pfas movement has 100+ members</vt:lpstr>
      <vt:lpstr>PowerPoint Presentation</vt:lpstr>
      <vt:lpstr>Key asks to scientists</vt:lpstr>
      <vt:lpstr>PowerPoint Presentation</vt:lpstr>
      <vt:lpstr>stay in touch with chemsec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Philip Krook</dc:creator>
  <cp:lastModifiedBy>Michael Ofengenden</cp:lastModifiedBy>
  <cp:revision>22</cp:revision>
  <dcterms:created xsi:type="dcterms:W3CDTF">2023-08-28T08:15:03Z</dcterms:created>
  <dcterms:modified xsi:type="dcterms:W3CDTF">2025-09-29T22:30:19Z</dcterms:modified>
</cp:coreProperties>
</file>